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17"/>
  </p:notesMasterIdLst>
  <p:handoutMasterIdLst>
    <p:handoutMasterId r:id="rId18"/>
  </p:handoutMasterIdLst>
  <p:sldIdLst>
    <p:sldId id="909" r:id="rId2"/>
    <p:sldId id="911" r:id="rId3"/>
    <p:sldId id="912" r:id="rId4"/>
    <p:sldId id="915" r:id="rId5"/>
    <p:sldId id="917" r:id="rId6"/>
    <p:sldId id="918" r:id="rId7"/>
    <p:sldId id="919" r:id="rId8"/>
    <p:sldId id="927" r:id="rId9"/>
    <p:sldId id="920" r:id="rId10"/>
    <p:sldId id="921" r:id="rId11"/>
    <p:sldId id="922" r:id="rId12"/>
    <p:sldId id="926" r:id="rId13"/>
    <p:sldId id="923" r:id="rId14"/>
    <p:sldId id="924" r:id="rId15"/>
    <p:sldId id="925" r:id="rId16"/>
  </p:sldIdLst>
  <p:sldSz cx="12192000" cy="6858000"/>
  <p:notesSz cx="6858000" cy="9144000"/>
  <p:custDataLst>
    <p:tags r:id="rId19"/>
  </p:custDataLst>
  <p:defaultTextStyle>
    <a:defPPr>
      <a:defRPr lang="ru-RU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065" userDrawn="1">
          <p15:clr>
            <a:srgbClr val="A4A3A4"/>
          </p15:clr>
        </p15:guide>
        <p15:guide id="2" pos="3454" userDrawn="1">
          <p15:clr>
            <a:srgbClr val="A4A3A4"/>
          </p15:clr>
        </p15:guide>
        <p15:guide id="4" orient="horz" pos="3543" userDrawn="1">
          <p15:clr>
            <a:srgbClr val="A4A3A4"/>
          </p15:clr>
        </p15:guide>
        <p15:guide id="5" pos="3863" userDrawn="1">
          <p15:clr>
            <a:srgbClr val="A4A3A4"/>
          </p15:clr>
        </p15:guide>
        <p15:guide id="6" pos="408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AEB00"/>
    <a:srgbClr val="364D6E"/>
    <a:srgbClr val="4C6C9C"/>
    <a:srgbClr val="818080"/>
    <a:srgbClr val="007770"/>
    <a:srgbClr val="5E107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8A107856-5554-42FB-B03E-39F5DBC370BA}" styleName="Medium Style 4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327F97BB-C833-4FB7-BDE5-3F7075034690}" styleName="Themed Style 2 - Accent 5">
    <a:tblBg>
      <a:fillRef idx="3">
        <a:schemeClr val="accent5"/>
      </a:fillRef>
      <a:effectRef idx="3">
        <a:schemeClr val="accent5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5">
                <a:tint val="50000"/>
              </a:schemeClr>
            </a:lnRef>
          </a:left>
          <a:right>
            <a:lnRef idx="1">
              <a:schemeClr val="accent5">
                <a:tint val="50000"/>
              </a:schemeClr>
            </a:lnRef>
          </a:right>
          <a:top>
            <a:lnRef idx="1">
              <a:schemeClr val="accent5">
                <a:tint val="50000"/>
              </a:schemeClr>
            </a:lnRef>
          </a:top>
          <a:bottom>
            <a:lnRef idx="1">
              <a:schemeClr val="accent5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638B1855-1B75-4FBE-930C-398BA8C253C6}" styleName="Themed Style 2 - Accent 6">
    <a:tblBg>
      <a:fillRef idx="3">
        <a:schemeClr val="accent6"/>
      </a:fillRef>
      <a:effectRef idx="3">
        <a:schemeClr val="accent6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6">
                <a:tint val="50000"/>
              </a:schemeClr>
            </a:lnRef>
          </a:left>
          <a:right>
            <a:lnRef idx="1">
              <a:schemeClr val="accent6">
                <a:tint val="50000"/>
              </a:schemeClr>
            </a:lnRef>
          </a:right>
          <a:top>
            <a:lnRef idx="1">
              <a:schemeClr val="accent6">
                <a:tint val="50000"/>
              </a:schemeClr>
            </a:lnRef>
          </a:top>
          <a:bottom>
            <a:lnRef idx="1">
              <a:schemeClr val="accent6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D27102A9-8310-4765-A935-A1911B00CA55}" styleName="Light Style 1 - Acc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68D230F3-CF80-4859-8CE7-A43EE81993B5}" styleName="Light Style 1 - Acc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46F890A9-2807-4EBB-B81D-B2AA78EC7F39}" styleName="Dark Style 2 - Accent 5/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91EBBBCC-DAD2-459C-BE2E-F6DE35CF9A28}" styleName="Dark Style 2 - Accent 3/Acc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5202B0CA-FC54-4496-8BCA-5EF66A818D29}" styleName="Dark Style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D113A9D2-9D6B-4929-AA2D-F23B5EE8CBE7}" styleName="Themed Style 2 - Accent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BC89EF96-8CEA-46FF-86C4-4CE0E7609802}" styleName="Светлый стиль 3 — акцент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9012ECD-51FC-41F1-AA8D-1B2483CD663E}" styleName="Светлый стиль 2 — акцент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616DA210-FB5B-4158-B5E0-FEB733F419BA}" styleName="Светлый стиль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8EC20E35-A176-4012-BC5E-935CFFF8708E}" styleName="Средний стиль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16D9F66E-5EB9-4882-86FB-DCBF35E3C3E4}" styleName="Medium Style 4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0269" autoAdjust="0"/>
    <p:restoredTop sz="94599"/>
  </p:normalViewPr>
  <p:slideViewPr>
    <p:cSldViewPr snapToGrid="0" snapToObjects="1">
      <p:cViewPr varScale="1">
        <p:scale>
          <a:sx n="70" d="100"/>
          <a:sy n="70" d="100"/>
        </p:scale>
        <p:origin x="552" y="56"/>
      </p:cViewPr>
      <p:guideLst>
        <p:guide orient="horz" pos="4065"/>
        <p:guide pos="3454"/>
        <p:guide orient="horz" pos="3543"/>
        <p:guide pos="3863"/>
        <p:guide pos="4089"/>
      </p:guideLst>
    </p:cSldViewPr>
  </p:slideViewPr>
  <p:notesTextViewPr>
    <p:cViewPr>
      <p:scale>
        <a:sx n="3" d="2"/>
        <a:sy n="3" d="2"/>
      </p:scale>
      <p:origin x="0" y="0"/>
    </p:cViewPr>
  </p:notesTextViewPr>
  <p:notesViewPr>
    <p:cSldViewPr snapToGrid="0" snapToObjects="1">
      <p:cViewPr varScale="1">
        <p:scale>
          <a:sx n="54" d="100"/>
          <a:sy n="54" d="100"/>
        </p:scale>
        <p:origin x="2376" y="2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handoutMaster" Target="handoutMasters/handoutMaster1.xml"/><Relationship Id="rId3" Type="http://schemas.openxmlformats.org/officeDocument/2006/relationships/slide" Target="slides/slide2.xml"/><Relationship Id="rId21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>
            <a:extLst>
              <a:ext uri="{FF2B5EF4-FFF2-40B4-BE49-F238E27FC236}">
                <a16:creationId xmlns:a16="http://schemas.microsoft.com/office/drawing/2014/main" id="{0E938AD5-0874-CE44-B59B-278802883919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id="{EFB8C08F-E6EA-C944-8C3C-CD7FDBE4BC5A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91636C08-FCEC-5E4C-8ACF-73CD2EDA8EBF}" type="datetimeFigureOut">
              <a:rPr lang="ru-RU"/>
              <a:pPr>
                <a:defRPr/>
              </a:pPr>
              <a:t>04.09.2020</a:t>
            </a:fld>
            <a:endParaRPr lang="ru-RU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id="{26569879-08A9-2E4C-81DD-7E539A9CA84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A7D7B65B-7CEC-4544-9A72-43DF242BBB3C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283F26C7-765C-C642-9C1C-8F257E219943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>
            <a:extLst>
              <a:ext uri="{FF2B5EF4-FFF2-40B4-BE49-F238E27FC236}">
                <a16:creationId xmlns:a16="http://schemas.microsoft.com/office/drawing/2014/main" id="{9A8722FF-034E-DA44-8041-1727C65D7F1B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id="{301F8BD0-D48E-134D-8F37-709B6ABEFF85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8B2AA29E-2142-8C41-8C05-46C8A80BFFAE}" type="datetimeFigureOut">
              <a:rPr lang="ru-RU"/>
              <a:pPr>
                <a:defRPr/>
              </a:pPr>
              <a:t>04.09.2020</a:t>
            </a:fld>
            <a:endParaRPr lang="ru-RU"/>
          </a:p>
        </p:txBody>
      </p:sp>
      <p:sp>
        <p:nvSpPr>
          <p:cNvPr id="4" name="Образ слайда 3">
            <a:extLst>
              <a:ext uri="{FF2B5EF4-FFF2-40B4-BE49-F238E27FC236}">
                <a16:creationId xmlns:a16="http://schemas.microsoft.com/office/drawing/2014/main" id="{0BB24D13-52CB-5E42-9AEA-995232094EBB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ru-RU" noProof="0"/>
          </a:p>
        </p:txBody>
      </p:sp>
      <p:sp>
        <p:nvSpPr>
          <p:cNvPr id="5" name="Заметки 4">
            <a:extLst>
              <a:ext uri="{FF2B5EF4-FFF2-40B4-BE49-F238E27FC236}">
                <a16:creationId xmlns:a16="http://schemas.microsoft.com/office/drawing/2014/main" id="{0F6FC7D2-13F5-B446-BD23-756DDBB6DDA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noProof="0"/>
              <a:t>Образец текста</a:t>
            </a:r>
          </a:p>
          <a:p>
            <a:pPr lvl="1"/>
            <a:r>
              <a:rPr lang="ru-RU" noProof="0"/>
              <a:t>Второй уровень</a:t>
            </a:r>
          </a:p>
          <a:p>
            <a:pPr lvl="2"/>
            <a:r>
              <a:rPr lang="ru-RU" noProof="0"/>
              <a:t>Третий уровень</a:t>
            </a:r>
          </a:p>
          <a:p>
            <a:pPr lvl="3"/>
            <a:r>
              <a:rPr lang="ru-RU" noProof="0"/>
              <a:t>Четвертый уровень</a:t>
            </a:r>
          </a:p>
          <a:p>
            <a:pPr lvl="4"/>
            <a:r>
              <a:rPr lang="ru-RU" noProof="0"/>
              <a:t>Пятый уровень</a:t>
            </a:r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E9A65BAF-520F-534F-AF26-83D82565B36C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019516BF-4EEC-7244-8C22-495FA842016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941B5423-86C3-8E4F-B8ED-9F387F40FD30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0.png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0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 с фотоизображением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6">
            <a:extLst>
              <a:ext uri="{FF2B5EF4-FFF2-40B4-BE49-F238E27FC236}">
                <a16:creationId xmlns:a16="http://schemas.microsoft.com/office/drawing/2014/main" id="{8F17F8BD-0279-7E45-9665-45723F3778A0}"/>
              </a:ext>
            </a:extLst>
          </p:cNvPr>
          <p:cNvSpPr/>
          <p:nvPr userDrawn="1"/>
        </p:nvSpPr>
        <p:spPr>
          <a:xfrm>
            <a:off x="758825" y="0"/>
            <a:ext cx="6107113" cy="6858000"/>
          </a:xfrm>
          <a:prstGeom prst="rect">
            <a:avLst/>
          </a:prstGeom>
          <a:solidFill>
            <a:srgbClr val="181C2B">
              <a:alpha val="7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pic>
        <p:nvPicPr>
          <p:cNvPr id="5" name="Picture 3">
            <a:extLst>
              <a:ext uri="{FF2B5EF4-FFF2-40B4-BE49-F238E27FC236}">
                <a16:creationId xmlns:a16="http://schemas.microsoft.com/office/drawing/2014/main" id="{AB85EF64-C3AA-3746-A0CE-3D789A62BCE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175" y="0"/>
            <a:ext cx="76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Заголовок 1"/>
          <p:cNvSpPr>
            <a:spLocks noGrp="1"/>
          </p:cNvSpPr>
          <p:nvPr>
            <p:ph type="ctrTitle"/>
          </p:nvPr>
        </p:nvSpPr>
        <p:spPr>
          <a:xfrm>
            <a:off x="1149881" y="1144588"/>
            <a:ext cx="5322357" cy="553998"/>
          </a:xfrm>
        </p:spPr>
        <p:txBody>
          <a:bodyPr/>
          <a:lstStyle>
            <a:lvl1pPr algn="l">
              <a:defRPr sz="4000" b="0" i="0" cap="none" baseline="0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1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149881" y="1906588"/>
            <a:ext cx="5322358" cy="33239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 b="0" i="0" baseline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290293233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Основной слайд">
    <p:bg>
      <p:bgPr>
        <a:blipFill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762001" y="2282824"/>
            <a:ext cx="4951414" cy="119006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1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767291" y="478121"/>
            <a:ext cx="7228947" cy="1218795"/>
          </a:xfrm>
        </p:spPr>
        <p:txBody>
          <a:bodyPr/>
          <a:lstStyle>
            <a:lvl1pPr>
              <a:defRPr sz="4400" b="0" i="0" cap="none" baseline="0">
                <a:latin typeface="Century Gothic" panose="020B0502020202020204" pitchFamily="34" charset="0"/>
              </a:defRPr>
            </a:lvl1pPr>
          </a:lstStyle>
          <a:p>
            <a:r>
              <a:rPr lang="ru-RU" dirty="0"/>
              <a:t>Основной </a:t>
            </a:r>
            <a:br>
              <a:rPr lang="ru-RU" dirty="0"/>
            </a:br>
            <a:r>
              <a:rPr lang="ru-RU" dirty="0"/>
              <a:t>слайд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88" y="0"/>
            <a:ext cx="381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827421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">
            <a:extLst>
              <a:ext uri="{FF2B5EF4-FFF2-40B4-BE49-F238E27FC236}">
                <a16:creationId xmlns:a16="http://schemas.microsoft.com/office/drawing/2014/main" id="{5E188CF3-8C80-6943-ABA9-80FCA087023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88" y="0"/>
            <a:ext cx="381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67291" y="478121"/>
            <a:ext cx="7228947" cy="645203"/>
          </a:xfrm>
        </p:spPr>
        <p:txBody>
          <a:bodyPr/>
          <a:lstStyle>
            <a:lvl1pPr>
              <a:defRPr sz="2600" b="0" i="0" cap="none" baseline="0"/>
            </a:lvl1pPr>
          </a:lstStyle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8" name="Объект 2"/>
          <p:cNvSpPr>
            <a:spLocks noGrp="1"/>
          </p:cNvSpPr>
          <p:nvPr>
            <p:ph idx="13"/>
          </p:nvPr>
        </p:nvSpPr>
        <p:spPr>
          <a:xfrm>
            <a:off x="767291" y="1298204"/>
            <a:ext cx="7228947" cy="2769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 baseline="0">
                <a:solidFill>
                  <a:srgbClr val="000000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F37CEC83-B83F-3641-BBF6-33D9F351557D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758825" y="6573838"/>
            <a:ext cx="4114800" cy="200025"/>
          </a:xfrm>
        </p:spPr>
        <p:txBody>
          <a:bodyPr/>
          <a:lstStyle>
            <a:lvl1pPr>
              <a:defRPr sz="100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r>
              <a:rPr lang="ru-RU"/>
              <a:t>Нижний </a:t>
            </a:r>
            <a:r>
              <a:rPr lang="ru-RU" err="1"/>
              <a:t>коллонтитул</a:t>
            </a:r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258D6788-F838-B649-9C06-8A2648D9C2E8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044238" y="6573838"/>
            <a:ext cx="765175" cy="153987"/>
          </a:xfrm>
        </p:spPr>
        <p:txBody>
          <a:bodyPr/>
          <a:lstStyle>
            <a:lvl1pPr algn="r">
              <a:defRPr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F3832C30-52DC-674E-9EC5-E151947698D1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6289605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екст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6">
            <a:extLst>
              <a:ext uri="{FF2B5EF4-FFF2-40B4-BE49-F238E27FC236}">
                <a16:creationId xmlns:a16="http://schemas.microsoft.com/office/drawing/2014/main" id="{5F7C8FB1-35F1-4244-9FCD-8645A82282E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88" y="0"/>
            <a:ext cx="381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67291" y="478121"/>
            <a:ext cx="7228947" cy="645203"/>
          </a:xfrm>
        </p:spPr>
        <p:txBody>
          <a:bodyPr/>
          <a:lstStyle>
            <a:lvl1pPr>
              <a:defRPr sz="2600" b="0" i="0" cap="none" baseline="0"/>
            </a:lvl1pPr>
          </a:lstStyle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758825" y="2282823"/>
            <a:ext cx="5337176" cy="119006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aseline="0">
                <a:latin typeface="Arial" charset="0"/>
                <a:ea typeface="Arial" charset="0"/>
                <a:cs typeface="Arial" charset="0"/>
              </a:defRPr>
            </a:lvl1pPr>
            <a:lvl2pPr marL="457200" indent="0">
              <a:buNone/>
              <a:defRPr baseline="0">
                <a:latin typeface="Arial" charset="0"/>
                <a:ea typeface="Arial" charset="0"/>
                <a:cs typeface="Arial" charset="0"/>
              </a:defRPr>
            </a:lvl2pPr>
            <a:lvl3pPr marL="914400" indent="0">
              <a:buNone/>
              <a:defRPr baseline="0">
                <a:latin typeface="Arial" charset="0"/>
                <a:ea typeface="Arial" charset="0"/>
                <a:cs typeface="Arial" charset="0"/>
              </a:defRPr>
            </a:lvl3pPr>
            <a:lvl4pPr marL="1371600" indent="0">
              <a:buNone/>
              <a:defRPr baseline="0">
                <a:latin typeface="Arial" charset="0"/>
                <a:ea typeface="Arial" charset="0"/>
                <a:cs typeface="Arial" charset="0"/>
              </a:defRPr>
            </a:lvl4pPr>
            <a:lvl5pPr marL="1828800" indent="0">
              <a:buNone/>
              <a:defRPr baseline="0">
                <a:latin typeface="Arial" charset="0"/>
                <a:ea typeface="Arial" charset="0"/>
                <a:cs typeface="Arial" charset="0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8" name="Объект 2"/>
          <p:cNvSpPr>
            <a:spLocks noGrp="1"/>
          </p:cNvSpPr>
          <p:nvPr>
            <p:ph idx="13"/>
          </p:nvPr>
        </p:nvSpPr>
        <p:spPr>
          <a:xfrm>
            <a:off x="767291" y="1298204"/>
            <a:ext cx="7228947" cy="2769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 baseline="0">
                <a:solidFill>
                  <a:srgbClr val="000000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Нижний колонтитул 4">
            <a:extLst>
              <a:ext uri="{FF2B5EF4-FFF2-40B4-BE49-F238E27FC236}">
                <a16:creationId xmlns:a16="http://schemas.microsoft.com/office/drawing/2014/main" id="{B094A48B-379B-F145-B5A8-C428FB533D2A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766763" y="6573838"/>
            <a:ext cx="4114800" cy="200025"/>
          </a:xfrm>
        </p:spPr>
        <p:txBody>
          <a:bodyPr/>
          <a:lstStyle>
            <a:lvl1pPr>
              <a:defRPr sz="100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r>
              <a:rPr lang="ru-RU"/>
              <a:t>Нижний </a:t>
            </a:r>
            <a:r>
              <a:rPr lang="ru-RU" err="1"/>
              <a:t>коллонтитул</a:t>
            </a:r>
            <a:endParaRPr lang="ru-RU"/>
          </a:p>
        </p:txBody>
      </p:sp>
      <p:sp>
        <p:nvSpPr>
          <p:cNvPr id="7" name="Номер слайда 5">
            <a:extLst>
              <a:ext uri="{FF2B5EF4-FFF2-40B4-BE49-F238E27FC236}">
                <a16:creationId xmlns:a16="http://schemas.microsoft.com/office/drawing/2014/main" id="{E7F8A8D0-A930-F24D-B620-9C5257B66302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044238" y="6573838"/>
            <a:ext cx="765175" cy="153987"/>
          </a:xfrm>
        </p:spPr>
        <p:txBody>
          <a:bodyPr/>
          <a:lstStyle>
            <a:lvl1pPr algn="r">
              <a:defRPr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A55F4F66-A28E-9340-AFEA-489F557EF9FF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6223170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6">
            <a:extLst>
              <a:ext uri="{FF2B5EF4-FFF2-40B4-BE49-F238E27FC236}">
                <a16:creationId xmlns:a16="http://schemas.microsoft.com/office/drawing/2014/main" id="{A29A2277-C3B8-3F49-9BB8-7188F3F49F1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88" y="0"/>
            <a:ext cx="381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67291" y="478121"/>
            <a:ext cx="7228947" cy="645203"/>
          </a:xfrm>
        </p:spPr>
        <p:txBody>
          <a:bodyPr/>
          <a:lstStyle>
            <a:lvl1pPr>
              <a:defRPr sz="2600" b="0" i="0" cap="none" baseline="0"/>
            </a:lvl1pPr>
          </a:lstStyle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758825" y="2282823"/>
            <a:ext cx="5337176" cy="119006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aseline="0">
                <a:latin typeface="Arial" charset="0"/>
                <a:ea typeface="Arial" charset="0"/>
                <a:cs typeface="Arial" charset="0"/>
              </a:defRPr>
            </a:lvl1pPr>
            <a:lvl2pPr marL="457200" indent="0">
              <a:buNone/>
              <a:defRPr baseline="0">
                <a:latin typeface="Arial" charset="0"/>
                <a:ea typeface="Arial" charset="0"/>
                <a:cs typeface="Arial" charset="0"/>
              </a:defRPr>
            </a:lvl2pPr>
            <a:lvl3pPr marL="914400" indent="0">
              <a:buNone/>
              <a:defRPr baseline="0">
                <a:latin typeface="Arial" charset="0"/>
                <a:ea typeface="Arial" charset="0"/>
                <a:cs typeface="Arial" charset="0"/>
              </a:defRPr>
            </a:lvl3pPr>
            <a:lvl4pPr marL="1371600" indent="0">
              <a:buNone/>
              <a:defRPr baseline="0">
                <a:latin typeface="Arial" charset="0"/>
                <a:ea typeface="Arial" charset="0"/>
                <a:cs typeface="Arial" charset="0"/>
              </a:defRPr>
            </a:lvl4pPr>
            <a:lvl5pPr marL="1828800" indent="0">
              <a:buNone/>
              <a:defRPr baseline="0">
                <a:latin typeface="Arial" charset="0"/>
                <a:ea typeface="Arial" charset="0"/>
                <a:cs typeface="Arial" charset="0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8" name="Объект 2"/>
          <p:cNvSpPr>
            <a:spLocks noGrp="1"/>
          </p:cNvSpPr>
          <p:nvPr>
            <p:ph idx="13"/>
          </p:nvPr>
        </p:nvSpPr>
        <p:spPr>
          <a:xfrm>
            <a:off x="767291" y="1298204"/>
            <a:ext cx="7228947" cy="2769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 baseline="0">
                <a:solidFill>
                  <a:srgbClr val="000000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Объект 2"/>
          <p:cNvSpPr>
            <a:spLocks noGrp="1"/>
          </p:cNvSpPr>
          <p:nvPr>
            <p:ph idx="14"/>
          </p:nvPr>
        </p:nvSpPr>
        <p:spPr>
          <a:xfrm>
            <a:off x="6472238" y="2282823"/>
            <a:ext cx="5337176" cy="119006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aseline="0">
                <a:latin typeface="Arial" charset="0"/>
                <a:ea typeface="Arial" charset="0"/>
                <a:cs typeface="Arial" charset="0"/>
              </a:defRPr>
            </a:lvl1pPr>
            <a:lvl2pPr marL="457200" indent="0">
              <a:buNone/>
              <a:defRPr baseline="0">
                <a:latin typeface="Arial" charset="0"/>
                <a:ea typeface="Arial" charset="0"/>
                <a:cs typeface="Arial" charset="0"/>
              </a:defRPr>
            </a:lvl2pPr>
            <a:lvl3pPr marL="914400" indent="0">
              <a:buNone/>
              <a:defRPr baseline="0">
                <a:latin typeface="Arial" charset="0"/>
                <a:ea typeface="Arial" charset="0"/>
                <a:cs typeface="Arial" charset="0"/>
              </a:defRPr>
            </a:lvl3pPr>
            <a:lvl4pPr marL="1371600" indent="0">
              <a:buNone/>
              <a:defRPr baseline="0">
                <a:latin typeface="Arial" charset="0"/>
                <a:ea typeface="Arial" charset="0"/>
                <a:cs typeface="Arial" charset="0"/>
              </a:defRPr>
            </a:lvl4pPr>
            <a:lvl5pPr marL="1828800" indent="0">
              <a:buNone/>
              <a:defRPr baseline="0">
                <a:latin typeface="Arial" charset="0"/>
                <a:ea typeface="Arial" charset="0"/>
                <a:cs typeface="Arial" charset="0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7" name="Нижний колонтитул 4">
            <a:extLst>
              <a:ext uri="{FF2B5EF4-FFF2-40B4-BE49-F238E27FC236}">
                <a16:creationId xmlns:a16="http://schemas.microsoft.com/office/drawing/2014/main" id="{AFC7BDEF-C21B-8448-8E4E-443197EDC4F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766763" y="6573838"/>
            <a:ext cx="4114800" cy="200025"/>
          </a:xfrm>
        </p:spPr>
        <p:txBody>
          <a:bodyPr/>
          <a:lstStyle>
            <a:lvl1pPr>
              <a:defRPr sz="100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r>
              <a:rPr lang="ru-RU"/>
              <a:t>Нижний </a:t>
            </a:r>
            <a:r>
              <a:rPr lang="ru-RU" err="1"/>
              <a:t>коллонтитул</a:t>
            </a:r>
            <a:endParaRPr lang="ru-RU"/>
          </a:p>
        </p:txBody>
      </p:sp>
      <p:sp>
        <p:nvSpPr>
          <p:cNvPr id="9" name="Номер слайда 5">
            <a:extLst>
              <a:ext uri="{FF2B5EF4-FFF2-40B4-BE49-F238E27FC236}">
                <a16:creationId xmlns:a16="http://schemas.microsoft.com/office/drawing/2014/main" id="{E155F589-DBAC-B64C-B56B-D80E5132869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11044238" y="6573838"/>
            <a:ext cx="765175" cy="153987"/>
          </a:xfrm>
        </p:spPr>
        <p:txBody>
          <a:bodyPr/>
          <a:lstStyle>
            <a:lvl1pPr algn="r">
              <a:defRPr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F6AE8656-EDC5-3146-AC5A-18E8EC5DFBDB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86768206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и серое зонирова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8">
            <a:extLst>
              <a:ext uri="{FF2B5EF4-FFF2-40B4-BE49-F238E27FC236}">
                <a16:creationId xmlns:a16="http://schemas.microsoft.com/office/drawing/2014/main" id="{371699EE-43E5-3D43-84FE-9F1193CA8BAB}"/>
              </a:ext>
            </a:extLst>
          </p:cNvPr>
          <p:cNvSpPr/>
          <p:nvPr userDrawn="1"/>
        </p:nvSpPr>
        <p:spPr>
          <a:xfrm>
            <a:off x="6292850" y="0"/>
            <a:ext cx="5899150" cy="6858000"/>
          </a:xfrm>
          <a:prstGeom prst="rect">
            <a:avLst/>
          </a:prstGeom>
          <a:solidFill>
            <a:srgbClr val="D1D1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pic>
        <p:nvPicPr>
          <p:cNvPr id="7" name="Picture 8">
            <a:extLst>
              <a:ext uri="{FF2B5EF4-FFF2-40B4-BE49-F238E27FC236}">
                <a16:creationId xmlns:a16="http://schemas.microsoft.com/office/drawing/2014/main" id="{128FA249-B278-2843-893F-87646855A16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88" y="0"/>
            <a:ext cx="381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762001" y="2282824"/>
            <a:ext cx="4951414" cy="119006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1" name="Объект 2"/>
          <p:cNvSpPr>
            <a:spLocks noGrp="1"/>
          </p:cNvSpPr>
          <p:nvPr>
            <p:ph idx="15"/>
          </p:nvPr>
        </p:nvSpPr>
        <p:spPr>
          <a:xfrm>
            <a:off x="6854825" y="2282824"/>
            <a:ext cx="4948238" cy="119006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767291" y="478121"/>
            <a:ext cx="7228947" cy="645203"/>
          </a:xfrm>
        </p:spPr>
        <p:txBody>
          <a:bodyPr/>
          <a:lstStyle>
            <a:lvl1pPr>
              <a:defRPr sz="2600" b="0" i="0" cap="none" baseline="0"/>
            </a:lvl1pPr>
          </a:lstStyle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15" name="Объект 2"/>
          <p:cNvSpPr>
            <a:spLocks noGrp="1"/>
          </p:cNvSpPr>
          <p:nvPr>
            <p:ph idx="13"/>
          </p:nvPr>
        </p:nvSpPr>
        <p:spPr>
          <a:xfrm>
            <a:off x="767291" y="1298204"/>
            <a:ext cx="7228947" cy="2769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 baseline="0">
                <a:solidFill>
                  <a:srgbClr val="000000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Нижний колонтитул 4">
            <a:extLst>
              <a:ext uri="{FF2B5EF4-FFF2-40B4-BE49-F238E27FC236}">
                <a16:creationId xmlns:a16="http://schemas.microsoft.com/office/drawing/2014/main" id="{B8A6D4BC-524B-EC4C-99E7-B88B758BA6A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762000" y="6573838"/>
            <a:ext cx="4114800" cy="200025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r>
              <a:rPr lang="ru-RU"/>
              <a:t>Нижний </a:t>
            </a:r>
            <a:r>
              <a:rPr lang="ru-RU" err="1"/>
              <a:t>коллонтитул</a:t>
            </a:r>
            <a:endParaRPr lang="ru-RU"/>
          </a:p>
        </p:txBody>
      </p:sp>
      <p:sp>
        <p:nvSpPr>
          <p:cNvPr id="9" name="Номер слайда 5">
            <a:extLst>
              <a:ext uri="{FF2B5EF4-FFF2-40B4-BE49-F238E27FC236}">
                <a16:creationId xmlns:a16="http://schemas.microsoft.com/office/drawing/2014/main" id="{66E338AD-98D3-CD46-880F-1CC34C0A0A27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11044238" y="6573838"/>
            <a:ext cx="765175" cy="153987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F1F082B3-6FF6-1B4C-9C48-831C24E406F5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87395208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сновн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8">
            <a:extLst>
              <a:ext uri="{FF2B5EF4-FFF2-40B4-BE49-F238E27FC236}">
                <a16:creationId xmlns:a16="http://schemas.microsoft.com/office/drawing/2014/main" id="{B394B5AE-DD58-EE4D-985A-0C11CF594C1C}"/>
              </a:ext>
            </a:extLst>
          </p:cNvPr>
          <p:cNvSpPr/>
          <p:nvPr userDrawn="1"/>
        </p:nvSpPr>
        <p:spPr>
          <a:xfrm>
            <a:off x="6292850" y="0"/>
            <a:ext cx="5899150" cy="6858000"/>
          </a:xfrm>
          <a:prstGeom prst="rect">
            <a:avLst/>
          </a:prstGeom>
          <a:solidFill>
            <a:srgbClr val="D1D1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pic>
        <p:nvPicPr>
          <p:cNvPr id="7" name="Picture 8">
            <a:extLst>
              <a:ext uri="{FF2B5EF4-FFF2-40B4-BE49-F238E27FC236}">
                <a16:creationId xmlns:a16="http://schemas.microsoft.com/office/drawing/2014/main" id="{2528E8B7-D065-D44F-8393-E2414130CA3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88" y="0"/>
            <a:ext cx="381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762001" y="2282824"/>
            <a:ext cx="4951414" cy="119006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2" name="Объект 2"/>
          <p:cNvSpPr>
            <a:spLocks noGrp="1"/>
          </p:cNvSpPr>
          <p:nvPr>
            <p:ph idx="14"/>
          </p:nvPr>
        </p:nvSpPr>
        <p:spPr>
          <a:xfrm>
            <a:off x="6665844" y="2282824"/>
            <a:ext cx="5135632" cy="30777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="0" i="0" cap="none" baseline="0">
                <a:solidFill>
                  <a:srgbClr val="000000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Заголовок 1"/>
          <p:cNvSpPr>
            <a:spLocks noGrp="1"/>
          </p:cNvSpPr>
          <p:nvPr>
            <p:ph type="title"/>
          </p:nvPr>
        </p:nvSpPr>
        <p:spPr>
          <a:xfrm>
            <a:off x="767291" y="478121"/>
            <a:ext cx="7228947" cy="720197"/>
          </a:xfrm>
        </p:spPr>
        <p:txBody>
          <a:bodyPr/>
          <a:lstStyle>
            <a:lvl1pPr>
              <a:defRPr sz="2600" b="0" i="0" cap="none" baseline="0"/>
            </a:lvl1pPr>
          </a:lstStyle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16" name="Объект 2"/>
          <p:cNvSpPr>
            <a:spLocks noGrp="1"/>
          </p:cNvSpPr>
          <p:nvPr>
            <p:ph idx="13"/>
          </p:nvPr>
        </p:nvSpPr>
        <p:spPr>
          <a:xfrm>
            <a:off x="767291" y="1298204"/>
            <a:ext cx="7228947" cy="2769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 baseline="0">
                <a:solidFill>
                  <a:srgbClr val="000000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Нижний колонтитул 4">
            <a:extLst>
              <a:ext uri="{FF2B5EF4-FFF2-40B4-BE49-F238E27FC236}">
                <a16:creationId xmlns:a16="http://schemas.microsoft.com/office/drawing/2014/main" id="{66D3C0A1-67C3-B64B-B074-B71DF9E5E75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758825" y="6573838"/>
            <a:ext cx="4114800" cy="200025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r>
              <a:rPr lang="ru-RU"/>
              <a:t>Нижний </a:t>
            </a:r>
            <a:r>
              <a:rPr lang="ru-RU" err="1"/>
              <a:t>коллонтитул</a:t>
            </a:r>
            <a:endParaRPr lang="ru-RU"/>
          </a:p>
        </p:txBody>
      </p:sp>
      <p:sp>
        <p:nvSpPr>
          <p:cNvPr id="9" name="Номер слайда 5">
            <a:extLst>
              <a:ext uri="{FF2B5EF4-FFF2-40B4-BE49-F238E27FC236}">
                <a16:creationId xmlns:a16="http://schemas.microsoft.com/office/drawing/2014/main" id="{91E0EF89-9F67-D845-B651-6DFBA08C81C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11044238" y="6573838"/>
            <a:ext cx="765175" cy="153987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BE8CD041-E91E-A645-AEFF-E8185320323C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62523498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руп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8">
            <a:extLst>
              <a:ext uri="{FF2B5EF4-FFF2-40B4-BE49-F238E27FC236}">
                <a16:creationId xmlns:a16="http://schemas.microsoft.com/office/drawing/2014/main" id="{C1897CE8-0729-5040-9C5D-2DD6EDEAB05A}"/>
              </a:ext>
            </a:extLst>
          </p:cNvPr>
          <p:cNvSpPr/>
          <p:nvPr userDrawn="1"/>
        </p:nvSpPr>
        <p:spPr>
          <a:xfrm>
            <a:off x="233363" y="0"/>
            <a:ext cx="6238875" cy="6858000"/>
          </a:xfrm>
          <a:prstGeom prst="rect">
            <a:avLst/>
          </a:prstGeom>
          <a:solidFill>
            <a:srgbClr val="FAEB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5ECCC289-3DF3-7845-BD3E-8300E3D878F8}"/>
              </a:ext>
            </a:extLst>
          </p:cNvPr>
          <p:cNvSpPr/>
          <p:nvPr userDrawn="1"/>
        </p:nvSpPr>
        <p:spPr>
          <a:xfrm>
            <a:off x="6292850" y="0"/>
            <a:ext cx="5899150" cy="6858000"/>
          </a:xfrm>
          <a:prstGeom prst="rect">
            <a:avLst/>
          </a:prstGeom>
          <a:solidFill>
            <a:srgbClr val="181C2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pic>
        <p:nvPicPr>
          <p:cNvPr id="8" name="Picture 9">
            <a:extLst>
              <a:ext uri="{FF2B5EF4-FFF2-40B4-BE49-F238E27FC236}">
                <a16:creationId xmlns:a16="http://schemas.microsoft.com/office/drawing/2014/main" id="{7475E74E-D10F-7B4B-8DC2-676D198234D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88" y="0"/>
            <a:ext cx="381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762001" y="2282824"/>
            <a:ext cx="4951414" cy="119006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2" name="Объект 2"/>
          <p:cNvSpPr>
            <a:spLocks noGrp="1"/>
          </p:cNvSpPr>
          <p:nvPr>
            <p:ph idx="14"/>
          </p:nvPr>
        </p:nvSpPr>
        <p:spPr>
          <a:xfrm>
            <a:off x="6665844" y="2282824"/>
            <a:ext cx="5135632" cy="30777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="0" i="0" cap="none" baseline="0">
                <a:solidFill>
                  <a:srgbClr val="FAEB00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5" name="Заголовок 1"/>
          <p:cNvSpPr>
            <a:spLocks noGrp="1"/>
          </p:cNvSpPr>
          <p:nvPr>
            <p:ph type="title"/>
          </p:nvPr>
        </p:nvSpPr>
        <p:spPr>
          <a:xfrm>
            <a:off x="767291" y="478121"/>
            <a:ext cx="7228947" cy="645203"/>
          </a:xfrm>
        </p:spPr>
        <p:txBody>
          <a:bodyPr/>
          <a:lstStyle>
            <a:lvl1pPr>
              <a:defRPr sz="2600" b="0" i="0" cap="none" baseline="0"/>
            </a:lvl1pPr>
          </a:lstStyle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26" name="Объект 2"/>
          <p:cNvSpPr>
            <a:spLocks noGrp="1"/>
          </p:cNvSpPr>
          <p:nvPr>
            <p:ph idx="13"/>
          </p:nvPr>
        </p:nvSpPr>
        <p:spPr>
          <a:xfrm>
            <a:off x="767291" y="1298204"/>
            <a:ext cx="7228947" cy="2769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 baseline="0">
                <a:solidFill>
                  <a:srgbClr val="000000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Нижний колонтитул 4">
            <a:extLst>
              <a:ext uri="{FF2B5EF4-FFF2-40B4-BE49-F238E27FC236}">
                <a16:creationId xmlns:a16="http://schemas.microsoft.com/office/drawing/2014/main" id="{8F856A87-B7AA-F74A-9A0B-8C8D2D1A6DE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762000" y="6573838"/>
            <a:ext cx="4114800" cy="200025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r>
              <a:rPr lang="ru-RU"/>
              <a:t>Нижний </a:t>
            </a:r>
            <a:r>
              <a:rPr lang="ru-RU" err="1"/>
              <a:t>коллонтитул</a:t>
            </a:r>
            <a:endParaRPr lang="ru-RU"/>
          </a:p>
        </p:txBody>
      </p:sp>
      <p:sp>
        <p:nvSpPr>
          <p:cNvPr id="10" name="Номер слайда 5">
            <a:extLst>
              <a:ext uri="{FF2B5EF4-FFF2-40B4-BE49-F238E27FC236}">
                <a16:creationId xmlns:a16="http://schemas.microsoft.com/office/drawing/2014/main" id="{915D1849-F070-B642-AEB2-F0F82A1448E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11044238" y="6573838"/>
            <a:ext cx="765175" cy="153987"/>
          </a:xfrm>
        </p:spPr>
        <p:txBody>
          <a:bodyPr/>
          <a:lstStyle>
            <a:lvl1pPr>
              <a:defRPr>
                <a:solidFill>
                  <a:srgbClr val="F9F900"/>
                </a:solidFill>
              </a:defRPr>
            </a:lvl1pPr>
          </a:lstStyle>
          <a:p>
            <a:pPr>
              <a:defRPr/>
            </a:pPr>
            <a:fld id="{F1D7BFA0-1EA5-4648-80FB-49FCEB71A510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96146894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 и изображ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6">
            <a:extLst>
              <a:ext uri="{FF2B5EF4-FFF2-40B4-BE49-F238E27FC236}">
                <a16:creationId xmlns:a16="http://schemas.microsoft.com/office/drawing/2014/main" id="{B31A6492-F493-9040-A5A5-424CFFFC19B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88" y="0"/>
            <a:ext cx="381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758824" y="2282824"/>
            <a:ext cx="5337175" cy="119006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aseline="0">
                <a:latin typeface="Arial" charset="0"/>
                <a:ea typeface="Arial" charset="0"/>
                <a:cs typeface="Arial" charset="0"/>
              </a:defRPr>
            </a:lvl1pPr>
            <a:lvl2pPr marL="457200" indent="0">
              <a:buNone/>
              <a:defRPr baseline="0">
                <a:latin typeface="Arial" charset="0"/>
                <a:ea typeface="Arial" charset="0"/>
                <a:cs typeface="Arial" charset="0"/>
              </a:defRPr>
            </a:lvl2pPr>
            <a:lvl3pPr marL="914400" indent="0">
              <a:buNone/>
              <a:defRPr baseline="0">
                <a:latin typeface="Arial" charset="0"/>
                <a:ea typeface="Arial" charset="0"/>
                <a:cs typeface="Arial" charset="0"/>
              </a:defRPr>
            </a:lvl3pPr>
            <a:lvl4pPr marL="1371600" indent="0">
              <a:buNone/>
              <a:defRPr baseline="0">
                <a:latin typeface="Arial" charset="0"/>
                <a:ea typeface="Arial" charset="0"/>
                <a:cs typeface="Arial" charset="0"/>
              </a:defRPr>
            </a:lvl4pPr>
            <a:lvl5pPr marL="1828800" indent="0">
              <a:buNone/>
              <a:defRPr baseline="0">
                <a:latin typeface="Arial" charset="0"/>
                <a:ea typeface="Arial" charset="0"/>
                <a:cs typeface="Arial" charset="0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2" name="Рисунок 8"/>
          <p:cNvSpPr>
            <a:spLocks noGrp="1"/>
          </p:cNvSpPr>
          <p:nvPr>
            <p:ph type="pic" sz="quarter" idx="14"/>
          </p:nvPr>
        </p:nvSpPr>
        <p:spPr>
          <a:xfrm>
            <a:off x="6307281" y="2"/>
            <a:ext cx="5884719" cy="6868391"/>
          </a:xfrm>
          <a:custGeom>
            <a:avLst/>
            <a:gdLst>
              <a:gd name="connsiteX0" fmla="*/ 0 w 6402324"/>
              <a:gd name="connsiteY0" fmla="*/ 6858000 h 6858000"/>
              <a:gd name="connsiteX1" fmla="*/ 1600581 w 6402324"/>
              <a:gd name="connsiteY1" fmla="*/ 0 h 6858000"/>
              <a:gd name="connsiteX2" fmla="*/ 6402324 w 6402324"/>
              <a:gd name="connsiteY2" fmla="*/ 0 h 6858000"/>
              <a:gd name="connsiteX3" fmla="*/ 4801743 w 6402324"/>
              <a:gd name="connsiteY3" fmla="*/ 6858000 h 6858000"/>
              <a:gd name="connsiteX4" fmla="*/ 0 w 6402324"/>
              <a:gd name="connsiteY4" fmla="*/ 6858000 h 6858000"/>
              <a:gd name="connsiteX0" fmla="*/ 0 w 6402324"/>
              <a:gd name="connsiteY0" fmla="*/ 6858000 h 6858000"/>
              <a:gd name="connsiteX1" fmla="*/ 381 w 6402324"/>
              <a:gd name="connsiteY1" fmla="*/ 0 h 6858000"/>
              <a:gd name="connsiteX2" fmla="*/ 6402324 w 6402324"/>
              <a:gd name="connsiteY2" fmla="*/ 0 h 6858000"/>
              <a:gd name="connsiteX3" fmla="*/ 4801743 w 6402324"/>
              <a:gd name="connsiteY3" fmla="*/ 6858000 h 6858000"/>
              <a:gd name="connsiteX4" fmla="*/ 0 w 6402324"/>
              <a:gd name="connsiteY4" fmla="*/ 6858000 h 6858000"/>
              <a:gd name="connsiteX0" fmla="*/ 0 w 8908457"/>
              <a:gd name="connsiteY0" fmla="*/ 6858000 h 6858000"/>
              <a:gd name="connsiteX1" fmla="*/ 381 w 8908457"/>
              <a:gd name="connsiteY1" fmla="*/ 0 h 6858000"/>
              <a:gd name="connsiteX2" fmla="*/ 8908457 w 8908457"/>
              <a:gd name="connsiteY2" fmla="*/ 0 h 6858000"/>
              <a:gd name="connsiteX3" fmla="*/ 4801743 w 8908457"/>
              <a:gd name="connsiteY3" fmla="*/ 6858000 h 6858000"/>
              <a:gd name="connsiteX4" fmla="*/ 0 w 8908457"/>
              <a:gd name="connsiteY4" fmla="*/ 6858000 h 6858000"/>
              <a:gd name="connsiteX0" fmla="*/ 0 w 8908457"/>
              <a:gd name="connsiteY0" fmla="*/ 6858000 h 6866467"/>
              <a:gd name="connsiteX1" fmla="*/ 381 w 8908457"/>
              <a:gd name="connsiteY1" fmla="*/ 0 h 6866467"/>
              <a:gd name="connsiteX2" fmla="*/ 8908457 w 8908457"/>
              <a:gd name="connsiteY2" fmla="*/ 0 h 6866467"/>
              <a:gd name="connsiteX3" fmla="*/ 6393476 w 8908457"/>
              <a:gd name="connsiteY3" fmla="*/ 6866467 h 6866467"/>
              <a:gd name="connsiteX4" fmla="*/ 0 w 8908457"/>
              <a:gd name="connsiteY4" fmla="*/ 6858000 h 6866467"/>
              <a:gd name="connsiteX0" fmla="*/ 0 w 8908457"/>
              <a:gd name="connsiteY0" fmla="*/ 6858000 h 6917267"/>
              <a:gd name="connsiteX1" fmla="*/ 381 w 8908457"/>
              <a:gd name="connsiteY1" fmla="*/ 0 h 6917267"/>
              <a:gd name="connsiteX2" fmla="*/ 8908457 w 8908457"/>
              <a:gd name="connsiteY2" fmla="*/ 0 h 6917267"/>
              <a:gd name="connsiteX3" fmla="*/ 6393476 w 8908457"/>
              <a:gd name="connsiteY3" fmla="*/ 6917267 h 6917267"/>
              <a:gd name="connsiteX4" fmla="*/ 0 w 8908457"/>
              <a:gd name="connsiteY4" fmla="*/ 6858000 h 6917267"/>
              <a:gd name="connsiteX0" fmla="*/ 0 w 8908457"/>
              <a:gd name="connsiteY0" fmla="*/ 6858000 h 6858000"/>
              <a:gd name="connsiteX1" fmla="*/ 381 w 8908457"/>
              <a:gd name="connsiteY1" fmla="*/ 0 h 6858000"/>
              <a:gd name="connsiteX2" fmla="*/ 8908457 w 8908457"/>
              <a:gd name="connsiteY2" fmla="*/ 0 h 6858000"/>
              <a:gd name="connsiteX3" fmla="*/ 6385010 w 8908457"/>
              <a:gd name="connsiteY3" fmla="*/ 6858000 h 6858000"/>
              <a:gd name="connsiteX4" fmla="*/ 0 w 8908457"/>
              <a:gd name="connsiteY4" fmla="*/ 6858000 h 6858000"/>
              <a:gd name="connsiteX0" fmla="*/ 0 w 8823790"/>
              <a:gd name="connsiteY0" fmla="*/ 6858000 h 6858000"/>
              <a:gd name="connsiteX1" fmla="*/ 381 w 8823790"/>
              <a:gd name="connsiteY1" fmla="*/ 0 h 6858000"/>
              <a:gd name="connsiteX2" fmla="*/ 8823790 w 8823790"/>
              <a:gd name="connsiteY2" fmla="*/ 8467 h 6858000"/>
              <a:gd name="connsiteX3" fmla="*/ 6385010 w 8823790"/>
              <a:gd name="connsiteY3" fmla="*/ 6858000 h 6858000"/>
              <a:gd name="connsiteX4" fmla="*/ 0 w 8823790"/>
              <a:gd name="connsiteY4" fmla="*/ 6858000 h 6858000"/>
              <a:gd name="connsiteX0" fmla="*/ 0 w 8874590"/>
              <a:gd name="connsiteY0" fmla="*/ 6858000 h 6858000"/>
              <a:gd name="connsiteX1" fmla="*/ 381 w 8874590"/>
              <a:gd name="connsiteY1" fmla="*/ 0 h 6858000"/>
              <a:gd name="connsiteX2" fmla="*/ 8874590 w 8874590"/>
              <a:gd name="connsiteY2" fmla="*/ 8467 h 6858000"/>
              <a:gd name="connsiteX3" fmla="*/ 6385010 w 8874590"/>
              <a:gd name="connsiteY3" fmla="*/ 6858000 h 6858000"/>
              <a:gd name="connsiteX4" fmla="*/ 0 w 8874590"/>
              <a:gd name="connsiteY4" fmla="*/ 6858000 h 6858000"/>
              <a:gd name="connsiteX0" fmla="*/ 0 w 8849190"/>
              <a:gd name="connsiteY0" fmla="*/ 6858000 h 6858000"/>
              <a:gd name="connsiteX1" fmla="*/ 381 w 8849190"/>
              <a:gd name="connsiteY1" fmla="*/ 0 h 6858000"/>
              <a:gd name="connsiteX2" fmla="*/ 8849190 w 8849190"/>
              <a:gd name="connsiteY2" fmla="*/ 16934 h 6858000"/>
              <a:gd name="connsiteX3" fmla="*/ 6385010 w 8849190"/>
              <a:gd name="connsiteY3" fmla="*/ 6858000 h 6858000"/>
              <a:gd name="connsiteX4" fmla="*/ 0 w 8849190"/>
              <a:gd name="connsiteY4" fmla="*/ 6858000 h 6858000"/>
              <a:gd name="connsiteX0" fmla="*/ 0 w 8586723"/>
              <a:gd name="connsiteY0" fmla="*/ 6858000 h 6858000"/>
              <a:gd name="connsiteX1" fmla="*/ 381 w 8586723"/>
              <a:gd name="connsiteY1" fmla="*/ 0 h 6858000"/>
              <a:gd name="connsiteX2" fmla="*/ 8586723 w 8586723"/>
              <a:gd name="connsiteY2" fmla="*/ 1 h 6858000"/>
              <a:gd name="connsiteX3" fmla="*/ 6385010 w 8586723"/>
              <a:gd name="connsiteY3" fmla="*/ 6858000 h 6858000"/>
              <a:gd name="connsiteX4" fmla="*/ 0 w 8586723"/>
              <a:gd name="connsiteY4" fmla="*/ 6858000 h 6858000"/>
              <a:gd name="connsiteX0" fmla="*/ 0 w 8874589"/>
              <a:gd name="connsiteY0" fmla="*/ 6858000 h 6858000"/>
              <a:gd name="connsiteX1" fmla="*/ 381 w 8874589"/>
              <a:gd name="connsiteY1" fmla="*/ 0 h 6858000"/>
              <a:gd name="connsiteX2" fmla="*/ 8874589 w 8874589"/>
              <a:gd name="connsiteY2" fmla="*/ 8468 h 6858000"/>
              <a:gd name="connsiteX3" fmla="*/ 6385010 w 8874589"/>
              <a:gd name="connsiteY3" fmla="*/ 6858000 h 6858000"/>
              <a:gd name="connsiteX4" fmla="*/ 0 w 8874589"/>
              <a:gd name="connsiteY4" fmla="*/ 6858000 h 6858000"/>
              <a:gd name="connsiteX0" fmla="*/ 0 w 8823789"/>
              <a:gd name="connsiteY0" fmla="*/ 6858000 h 6858000"/>
              <a:gd name="connsiteX1" fmla="*/ 381 w 8823789"/>
              <a:gd name="connsiteY1" fmla="*/ 0 h 6858000"/>
              <a:gd name="connsiteX2" fmla="*/ 8823789 w 8823789"/>
              <a:gd name="connsiteY2" fmla="*/ 16934 h 6858000"/>
              <a:gd name="connsiteX3" fmla="*/ 6385010 w 8823789"/>
              <a:gd name="connsiteY3" fmla="*/ 6858000 h 6858000"/>
              <a:gd name="connsiteX4" fmla="*/ 0 w 8823789"/>
              <a:gd name="connsiteY4" fmla="*/ 6858000 h 6858000"/>
              <a:gd name="connsiteX0" fmla="*/ 0 w 8883055"/>
              <a:gd name="connsiteY0" fmla="*/ 6858000 h 6858000"/>
              <a:gd name="connsiteX1" fmla="*/ 381 w 8883055"/>
              <a:gd name="connsiteY1" fmla="*/ 0 h 6858000"/>
              <a:gd name="connsiteX2" fmla="*/ 8883055 w 8883055"/>
              <a:gd name="connsiteY2" fmla="*/ 8467 h 6858000"/>
              <a:gd name="connsiteX3" fmla="*/ 6385010 w 8883055"/>
              <a:gd name="connsiteY3" fmla="*/ 6858000 h 6858000"/>
              <a:gd name="connsiteX4" fmla="*/ 0 w 8883055"/>
              <a:gd name="connsiteY4" fmla="*/ 6858000 h 6858000"/>
              <a:gd name="connsiteX0" fmla="*/ 0 w 8891522"/>
              <a:gd name="connsiteY0" fmla="*/ 6900333 h 6900333"/>
              <a:gd name="connsiteX1" fmla="*/ 381 w 8891522"/>
              <a:gd name="connsiteY1" fmla="*/ 42333 h 6900333"/>
              <a:gd name="connsiteX2" fmla="*/ 8891522 w 8891522"/>
              <a:gd name="connsiteY2" fmla="*/ 0 h 6900333"/>
              <a:gd name="connsiteX3" fmla="*/ 6385010 w 8891522"/>
              <a:gd name="connsiteY3" fmla="*/ 6900333 h 6900333"/>
              <a:gd name="connsiteX4" fmla="*/ 0 w 8891522"/>
              <a:gd name="connsiteY4" fmla="*/ 6900333 h 6900333"/>
              <a:gd name="connsiteX0" fmla="*/ 0 w 8891522"/>
              <a:gd name="connsiteY0" fmla="*/ 6858000 h 6858000"/>
              <a:gd name="connsiteX1" fmla="*/ 381 w 8891522"/>
              <a:gd name="connsiteY1" fmla="*/ 0 h 6858000"/>
              <a:gd name="connsiteX2" fmla="*/ 8891522 w 8891522"/>
              <a:gd name="connsiteY2" fmla="*/ 1 h 6858000"/>
              <a:gd name="connsiteX3" fmla="*/ 6385010 w 8891522"/>
              <a:gd name="connsiteY3" fmla="*/ 6858000 h 6858000"/>
              <a:gd name="connsiteX4" fmla="*/ 0 w 8891522"/>
              <a:gd name="connsiteY4" fmla="*/ 6858000 h 6858000"/>
              <a:gd name="connsiteX0" fmla="*/ 0 w 12200848"/>
              <a:gd name="connsiteY0" fmla="*/ 6858000 h 6858000"/>
              <a:gd name="connsiteX1" fmla="*/ 12200848 w 12200848"/>
              <a:gd name="connsiteY1" fmla="*/ 0 h 6858000"/>
              <a:gd name="connsiteX2" fmla="*/ 8891522 w 12200848"/>
              <a:gd name="connsiteY2" fmla="*/ 1 h 6858000"/>
              <a:gd name="connsiteX3" fmla="*/ 6385010 w 12200848"/>
              <a:gd name="connsiteY3" fmla="*/ 6858000 h 6858000"/>
              <a:gd name="connsiteX4" fmla="*/ 0 w 12200848"/>
              <a:gd name="connsiteY4" fmla="*/ 6858000 h 6858000"/>
              <a:gd name="connsiteX0" fmla="*/ 5823923 w 5823923"/>
              <a:gd name="connsiteY0" fmla="*/ 6858000 h 6858000"/>
              <a:gd name="connsiteX1" fmla="*/ 5815838 w 5823923"/>
              <a:gd name="connsiteY1" fmla="*/ 0 h 6858000"/>
              <a:gd name="connsiteX2" fmla="*/ 2506512 w 5823923"/>
              <a:gd name="connsiteY2" fmla="*/ 1 h 6858000"/>
              <a:gd name="connsiteX3" fmla="*/ 0 w 5823923"/>
              <a:gd name="connsiteY3" fmla="*/ 6858000 h 6858000"/>
              <a:gd name="connsiteX4" fmla="*/ 5823923 w 5823923"/>
              <a:gd name="connsiteY4" fmla="*/ 6858000 h 6858000"/>
              <a:gd name="connsiteX0" fmla="*/ 5900123 w 5900123"/>
              <a:gd name="connsiteY0" fmla="*/ 6874933 h 6874933"/>
              <a:gd name="connsiteX1" fmla="*/ 5815838 w 5900123"/>
              <a:gd name="connsiteY1" fmla="*/ 0 h 6874933"/>
              <a:gd name="connsiteX2" fmla="*/ 2506512 w 5900123"/>
              <a:gd name="connsiteY2" fmla="*/ 1 h 6874933"/>
              <a:gd name="connsiteX3" fmla="*/ 0 w 5900123"/>
              <a:gd name="connsiteY3" fmla="*/ 6858000 h 6874933"/>
              <a:gd name="connsiteX4" fmla="*/ 5900123 w 5900123"/>
              <a:gd name="connsiteY4" fmla="*/ 6874933 h 6874933"/>
              <a:gd name="connsiteX0" fmla="*/ 5815456 w 5815838"/>
              <a:gd name="connsiteY0" fmla="*/ 6866467 h 6866467"/>
              <a:gd name="connsiteX1" fmla="*/ 5815838 w 5815838"/>
              <a:gd name="connsiteY1" fmla="*/ 0 h 6866467"/>
              <a:gd name="connsiteX2" fmla="*/ 2506512 w 5815838"/>
              <a:gd name="connsiteY2" fmla="*/ 1 h 6866467"/>
              <a:gd name="connsiteX3" fmla="*/ 0 w 5815838"/>
              <a:gd name="connsiteY3" fmla="*/ 6858000 h 6866467"/>
              <a:gd name="connsiteX4" fmla="*/ 5815456 w 5815838"/>
              <a:gd name="connsiteY4" fmla="*/ 6866467 h 6866467"/>
              <a:gd name="connsiteX0" fmla="*/ 5815456 w 5815838"/>
              <a:gd name="connsiteY0" fmla="*/ 7001934 h 7001934"/>
              <a:gd name="connsiteX1" fmla="*/ 5815838 w 5815838"/>
              <a:gd name="connsiteY1" fmla="*/ 0 h 7001934"/>
              <a:gd name="connsiteX2" fmla="*/ 2506512 w 5815838"/>
              <a:gd name="connsiteY2" fmla="*/ 1 h 7001934"/>
              <a:gd name="connsiteX3" fmla="*/ 0 w 5815838"/>
              <a:gd name="connsiteY3" fmla="*/ 6858000 h 7001934"/>
              <a:gd name="connsiteX4" fmla="*/ 5815456 w 5815838"/>
              <a:gd name="connsiteY4" fmla="*/ 7001934 h 7001934"/>
              <a:gd name="connsiteX0" fmla="*/ 5823922 w 5823923"/>
              <a:gd name="connsiteY0" fmla="*/ 6858001 h 6858001"/>
              <a:gd name="connsiteX1" fmla="*/ 5815838 w 5823923"/>
              <a:gd name="connsiteY1" fmla="*/ 0 h 6858001"/>
              <a:gd name="connsiteX2" fmla="*/ 2506512 w 5823923"/>
              <a:gd name="connsiteY2" fmla="*/ 1 h 6858001"/>
              <a:gd name="connsiteX3" fmla="*/ 0 w 5823923"/>
              <a:gd name="connsiteY3" fmla="*/ 6858000 h 6858001"/>
              <a:gd name="connsiteX4" fmla="*/ 5823922 w 5823923"/>
              <a:gd name="connsiteY4" fmla="*/ 6858001 h 6858001"/>
              <a:gd name="connsiteX0" fmla="*/ 5942455 w 5942455"/>
              <a:gd name="connsiteY0" fmla="*/ 6866468 h 6866468"/>
              <a:gd name="connsiteX1" fmla="*/ 5815838 w 5942455"/>
              <a:gd name="connsiteY1" fmla="*/ 0 h 6866468"/>
              <a:gd name="connsiteX2" fmla="*/ 2506512 w 5942455"/>
              <a:gd name="connsiteY2" fmla="*/ 1 h 6866468"/>
              <a:gd name="connsiteX3" fmla="*/ 0 w 5942455"/>
              <a:gd name="connsiteY3" fmla="*/ 6858000 h 6866468"/>
              <a:gd name="connsiteX4" fmla="*/ 5942455 w 5942455"/>
              <a:gd name="connsiteY4" fmla="*/ 6866468 h 6866468"/>
              <a:gd name="connsiteX0" fmla="*/ 5806988 w 5815838"/>
              <a:gd name="connsiteY0" fmla="*/ 6874935 h 6874935"/>
              <a:gd name="connsiteX1" fmla="*/ 5815838 w 5815838"/>
              <a:gd name="connsiteY1" fmla="*/ 0 h 6874935"/>
              <a:gd name="connsiteX2" fmla="*/ 2506512 w 5815838"/>
              <a:gd name="connsiteY2" fmla="*/ 1 h 6874935"/>
              <a:gd name="connsiteX3" fmla="*/ 0 w 5815838"/>
              <a:gd name="connsiteY3" fmla="*/ 6858000 h 6874935"/>
              <a:gd name="connsiteX4" fmla="*/ 5806988 w 5815838"/>
              <a:gd name="connsiteY4" fmla="*/ 6874935 h 6874935"/>
              <a:gd name="connsiteX0" fmla="*/ 5806988 w 6958838"/>
              <a:gd name="connsiteY0" fmla="*/ 6874934 h 6874934"/>
              <a:gd name="connsiteX1" fmla="*/ 6958838 w 6958838"/>
              <a:gd name="connsiteY1" fmla="*/ 8466 h 6874934"/>
              <a:gd name="connsiteX2" fmla="*/ 2506512 w 6958838"/>
              <a:gd name="connsiteY2" fmla="*/ 0 h 6874934"/>
              <a:gd name="connsiteX3" fmla="*/ 0 w 6958838"/>
              <a:gd name="connsiteY3" fmla="*/ 6857999 h 6874934"/>
              <a:gd name="connsiteX4" fmla="*/ 5806988 w 6958838"/>
              <a:gd name="connsiteY4" fmla="*/ 6874934 h 6874934"/>
              <a:gd name="connsiteX0" fmla="*/ 6958455 w 6958838"/>
              <a:gd name="connsiteY0" fmla="*/ 6858001 h 6858001"/>
              <a:gd name="connsiteX1" fmla="*/ 6958838 w 6958838"/>
              <a:gd name="connsiteY1" fmla="*/ 8466 h 6858001"/>
              <a:gd name="connsiteX2" fmla="*/ 2506512 w 6958838"/>
              <a:gd name="connsiteY2" fmla="*/ 0 h 6858001"/>
              <a:gd name="connsiteX3" fmla="*/ 0 w 6958838"/>
              <a:gd name="connsiteY3" fmla="*/ 6857999 h 6858001"/>
              <a:gd name="connsiteX4" fmla="*/ 6958455 w 6958838"/>
              <a:gd name="connsiteY4" fmla="*/ 6858001 h 6858001"/>
              <a:gd name="connsiteX0" fmla="*/ 6958455 w 6967305"/>
              <a:gd name="connsiteY0" fmla="*/ 6858001 h 6858001"/>
              <a:gd name="connsiteX1" fmla="*/ 6967305 w 6967305"/>
              <a:gd name="connsiteY1" fmla="*/ 126999 h 6858001"/>
              <a:gd name="connsiteX2" fmla="*/ 2506512 w 6967305"/>
              <a:gd name="connsiteY2" fmla="*/ 0 h 6858001"/>
              <a:gd name="connsiteX3" fmla="*/ 0 w 6967305"/>
              <a:gd name="connsiteY3" fmla="*/ 6857999 h 6858001"/>
              <a:gd name="connsiteX4" fmla="*/ 6958455 w 6967305"/>
              <a:gd name="connsiteY4" fmla="*/ 6858001 h 6858001"/>
              <a:gd name="connsiteX0" fmla="*/ 6958455 w 6967305"/>
              <a:gd name="connsiteY0" fmla="*/ 6866469 h 6866469"/>
              <a:gd name="connsiteX1" fmla="*/ 6967305 w 6967305"/>
              <a:gd name="connsiteY1" fmla="*/ 0 h 6866469"/>
              <a:gd name="connsiteX2" fmla="*/ 2506512 w 6967305"/>
              <a:gd name="connsiteY2" fmla="*/ 8468 h 6866469"/>
              <a:gd name="connsiteX3" fmla="*/ 0 w 6967305"/>
              <a:gd name="connsiteY3" fmla="*/ 6866467 h 6866469"/>
              <a:gd name="connsiteX4" fmla="*/ 6958455 w 6967305"/>
              <a:gd name="connsiteY4" fmla="*/ 6866469 h 6866469"/>
              <a:gd name="connsiteX0" fmla="*/ 7102388 w 7102388"/>
              <a:gd name="connsiteY0" fmla="*/ 6858002 h 6866467"/>
              <a:gd name="connsiteX1" fmla="*/ 6967305 w 7102388"/>
              <a:gd name="connsiteY1" fmla="*/ 0 h 6866467"/>
              <a:gd name="connsiteX2" fmla="*/ 2506512 w 7102388"/>
              <a:gd name="connsiteY2" fmla="*/ 8468 h 6866467"/>
              <a:gd name="connsiteX3" fmla="*/ 0 w 7102388"/>
              <a:gd name="connsiteY3" fmla="*/ 6866467 h 6866467"/>
              <a:gd name="connsiteX4" fmla="*/ 7102388 w 7102388"/>
              <a:gd name="connsiteY4" fmla="*/ 6858002 h 6866467"/>
              <a:gd name="connsiteX0" fmla="*/ 6966921 w 6967305"/>
              <a:gd name="connsiteY0" fmla="*/ 6874935 h 6874935"/>
              <a:gd name="connsiteX1" fmla="*/ 6967305 w 6967305"/>
              <a:gd name="connsiteY1" fmla="*/ 0 h 6874935"/>
              <a:gd name="connsiteX2" fmla="*/ 2506512 w 6967305"/>
              <a:gd name="connsiteY2" fmla="*/ 8468 h 6874935"/>
              <a:gd name="connsiteX3" fmla="*/ 0 w 6967305"/>
              <a:gd name="connsiteY3" fmla="*/ 6866467 h 6874935"/>
              <a:gd name="connsiteX4" fmla="*/ 6966921 w 6967305"/>
              <a:gd name="connsiteY4" fmla="*/ 6874935 h 6874935"/>
              <a:gd name="connsiteX0" fmla="*/ 6983855 w 6983855"/>
              <a:gd name="connsiteY0" fmla="*/ 6968068 h 6968068"/>
              <a:gd name="connsiteX1" fmla="*/ 6967305 w 6983855"/>
              <a:gd name="connsiteY1" fmla="*/ 0 h 6968068"/>
              <a:gd name="connsiteX2" fmla="*/ 2506512 w 6983855"/>
              <a:gd name="connsiteY2" fmla="*/ 8468 h 6968068"/>
              <a:gd name="connsiteX3" fmla="*/ 0 w 6983855"/>
              <a:gd name="connsiteY3" fmla="*/ 6866467 h 6968068"/>
              <a:gd name="connsiteX4" fmla="*/ 6983855 w 6983855"/>
              <a:gd name="connsiteY4" fmla="*/ 6968068 h 6968068"/>
              <a:gd name="connsiteX0" fmla="*/ 6966921 w 6967305"/>
              <a:gd name="connsiteY0" fmla="*/ 6874934 h 6874934"/>
              <a:gd name="connsiteX1" fmla="*/ 6967305 w 6967305"/>
              <a:gd name="connsiteY1" fmla="*/ 0 h 6874934"/>
              <a:gd name="connsiteX2" fmla="*/ 2506512 w 6967305"/>
              <a:gd name="connsiteY2" fmla="*/ 8468 h 6874934"/>
              <a:gd name="connsiteX3" fmla="*/ 0 w 6967305"/>
              <a:gd name="connsiteY3" fmla="*/ 6866467 h 6874934"/>
              <a:gd name="connsiteX4" fmla="*/ 6966921 w 6967305"/>
              <a:gd name="connsiteY4" fmla="*/ 6874934 h 6874934"/>
              <a:gd name="connsiteX0" fmla="*/ 6966921 w 6966921"/>
              <a:gd name="connsiteY0" fmla="*/ 6866467 h 6866467"/>
              <a:gd name="connsiteX1" fmla="*/ 6120638 w 6966921"/>
              <a:gd name="connsiteY1" fmla="*/ 0 h 6866467"/>
              <a:gd name="connsiteX2" fmla="*/ 2506512 w 6966921"/>
              <a:gd name="connsiteY2" fmla="*/ 1 h 6866467"/>
              <a:gd name="connsiteX3" fmla="*/ 0 w 6966921"/>
              <a:gd name="connsiteY3" fmla="*/ 6858000 h 6866467"/>
              <a:gd name="connsiteX4" fmla="*/ 6966921 w 6966921"/>
              <a:gd name="connsiteY4" fmla="*/ 6866467 h 6866467"/>
              <a:gd name="connsiteX0" fmla="*/ 6120255 w 6120638"/>
              <a:gd name="connsiteY0" fmla="*/ 6858001 h 6858001"/>
              <a:gd name="connsiteX1" fmla="*/ 6120638 w 6120638"/>
              <a:gd name="connsiteY1" fmla="*/ 0 h 6858001"/>
              <a:gd name="connsiteX2" fmla="*/ 2506512 w 6120638"/>
              <a:gd name="connsiteY2" fmla="*/ 1 h 6858001"/>
              <a:gd name="connsiteX3" fmla="*/ 0 w 6120638"/>
              <a:gd name="connsiteY3" fmla="*/ 6858000 h 6858001"/>
              <a:gd name="connsiteX4" fmla="*/ 6120255 w 6120638"/>
              <a:gd name="connsiteY4" fmla="*/ 6858001 h 6858001"/>
              <a:gd name="connsiteX0" fmla="*/ 6120255 w 6120638"/>
              <a:gd name="connsiteY0" fmla="*/ 6858001 h 6858001"/>
              <a:gd name="connsiteX1" fmla="*/ 6120638 w 6120638"/>
              <a:gd name="connsiteY1" fmla="*/ 0 h 6858001"/>
              <a:gd name="connsiteX2" fmla="*/ 33475 w 6120638"/>
              <a:gd name="connsiteY2" fmla="*/ 41565 h 6858001"/>
              <a:gd name="connsiteX3" fmla="*/ 0 w 6120638"/>
              <a:gd name="connsiteY3" fmla="*/ 6858000 h 6858001"/>
              <a:gd name="connsiteX4" fmla="*/ 6120255 w 6120638"/>
              <a:gd name="connsiteY4" fmla="*/ 6858001 h 6858001"/>
              <a:gd name="connsiteX0" fmla="*/ 6086780 w 6087163"/>
              <a:gd name="connsiteY0" fmla="*/ 6858001 h 6868391"/>
              <a:gd name="connsiteX1" fmla="*/ 6087163 w 6087163"/>
              <a:gd name="connsiteY1" fmla="*/ 0 h 6868391"/>
              <a:gd name="connsiteX2" fmla="*/ 0 w 6087163"/>
              <a:gd name="connsiteY2" fmla="*/ 41565 h 6868391"/>
              <a:gd name="connsiteX3" fmla="*/ 195125 w 6087163"/>
              <a:gd name="connsiteY3" fmla="*/ 6868391 h 6868391"/>
              <a:gd name="connsiteX4" fmla="*/ 6086780 w 6087163"/>
              <a:gd name="connsiteY4" fmla="*/ 6858001 h 6868391"/>
              <a:gd name="connsiteX0" fmla="*/ 6086780 w 6087163"/>
              <a:gd name="connsiteY0" fmla="*/ 6858001 h 6868391"/>
              <a:gd name="connsiteX1" fmla="*/ 6087163 w 6087163"/>
              <a:gd name="connsiteY1" fmla="*/ 0 h 6868391"/>
              <a:gd name="connsiteX2" fmla="*/ 0 w 6087163"/>
              <a:gd name="connsiteY2" fmla="*/ 41565 h 6868391"/>
              <a:gd name="connsiteX3" fmla="*/ 8088 w 6087163"/>
              <a:gd name="connsiteY3" fmla="*/ 6868391 h 6868391"/>
              <a:gd name="connsiteX4" fmla="*/ 6086780 w 6087163"/>
              <a:gd name="connsiteY4" fmla="*/ 6858001 h 6868391"/>
              <a:gd name="connsiteX0" fmla="*/ 6086780 w 6087163"/>
              <a:gd name="connsiteY0" fmla="*/ 6858001 h 6868391"/>
              <a:gd name="connsiteX1" fmla="*/ 6087163 w 6087163"/>
              <a:gd name="connsiteY1" fmla="*/ 0 h 6868391"/>
              <a:gd name="connsiteX2" fmla="*/ 0 w 6087163"/>
              <a:gd name="connsiteY2" fmla="*/ 10392 h 6868391"/>
              <a:gd name="connsiteX3" fmla="*/ 8088 w 6087163"/>
              <a:gd name="connsiteY3" fmla="*/ 6868391 h 6868391"/>
              <a:gd name="connsiteX4" fmla="*/ 6086780 w 6087163"/>
              <a:gd name="connsiteY4" fmla="*/ 6858001 h 6868391"/>
              <a:gd name="connsiteX0" fmla="*/ 6086780 w 6087163"/>
              <a:gd name="connsiteY0" fmla="*/ 6858001 h 6868391"/>
              <a:gd name="connsiteX1" fmla="*/ 6087163 w 6087163"/>
              <a:gd name="connsiteY1" fmla="*/ 0 h 6868391"/>
              <a:gd name="connsiteX2" fmla="*/ 0 w 6087163"/>
              <a:gd name="connsiteY2" fmla="*/ 1 h 6868391"/>
              <a:gd name="connsiteX3" fmla="*/ 8088 w 6087163"/>
              <a:gd name="connsiteY3" fmla="*/ 6868391 h 6868391"/>
              <a:gd name="connsiteX4" fmla="*/ 6086780 w 6087163"/>
              <a:gd name="connsiteY4" fmla="*/ 6858001 h 68683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87163" h="6868391">
                <a:moveTo>
                  <a:pt x="6086780" y="6858001"/>
                </a:moveTo>
                <a:cubicBezTo>
                  <a:pt x="6086907" y="4569179"/>
                  <a:pt x="6087036" y="2288822"/>
                  <a:pt x="6087163" y="0"/>
                </a:cubicBezTo>
                <a:lnTo>
                  <a:pt x="0" y="1"/>
                </a:lnTo>
                <a:lnTo>
                  <a:pt x="8088" y="6868391"/>
                </a:lnTo>
                <a:lnTo>
                  <a:pt x="6086780" y="6858001"/>
                </a:lnTo>
                <a:close/>
              </a:path>
            </a:pathLst>
          </a:custGeom>
        </p:spPr>
        <p:txBody>
          <a:bodyPr rtlCol="0">
            <a:noAutofit/>
          </a:bodyPr>
          <a:lstStyle/>
          <a:p>
            <a:pPr lvl="0"/>
            <a:endParaRPr lang="ru-RU" noProof="0" dirty="0"/>
          </a:p>
        </p:txBody>
      </p:sp>
      <p:sp>
        <p:nvSpPr>
          <p:cNvPr id="10" name="Заголовок 1"/>
          <p:cNvSpPr>
            <a:spLocks noGrp="1"/>
          </p:cNvSpPr>
          <p:nvPr>
            <p:ph type="title"/>
          </p:nvPr>
        </p:nvSpPr>
        <p:spPr>
          <a:xfrm>
            <a:off x="767291" y="478121"/>
            <a:ext cx="7228947" cy="645203"/>
          </a:xfrm>
        </p:spPr>
        <p:txBody>
          <a:bodyPr/>
          <a:lstStyle>
            <a:lvl1pPr>
              <a:defRPr sz="2600" b="0" i="0" cap="none" baseline="0"/>
            </a:lvl1pPr>
          </a:lstStyle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11" name="Объект 2"/>
          <p:cNvSpPr>
            <a:spLocks noGrp="1"/>
          </p:cNvSpPr>
          <p:nvPr>
            <p:ph idx="13"/>
          </p:nvPr>
        </p:nvSpPr>
        <p:spPr>
          <a:xfrm>
            <a:off x="767291" y="1298204"/>
            <a:ext cx="7228947" cy="2769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 baseline="0">
                <a:solidFill>
                  <a:srgbClr val="000000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Нижний колонтитул 4">
            <a:extLst>
              <a:ext uri="{FF2B5EF4-FFF2-40B4-BE49-F238E27FC236}">
                <a16:creationId xmlns:a16="http://schemas.microsoft.com/office/drawing/2014/main" id="{A19B15BC-8611-A64F-ACDA-F0766832BF2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758825" y="6573838"/>
            <a:ext cx="4114800" cy="200025"/>
          </a:xfrm>
        </p:spPr>
        <p:txBody>
          <a:bodyPr/>
          <a:lstStyle>
            <a:lvl1pPr>
              <a:defRPr sz="100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r>
              <a:rPr lang="ru-RU"/>
              <a:t>Нижний </a:t>
            </a:r>
            <a:r>
              <a:rPr lang="ru-RU" err="1"/>
              <a:t>коллонтитул</a:t>
            </a:r>
            <a:endParaRPr lang="ru-RU"/>
          </a:p>
        </p:txBody>
      </p:sp>
      <p:sp>
        <p:nvSpPr>
          <p:cNvPr id="8" name="Номер слайда 5">
            <a:extLst>
              <a:ext uri="{FF2B5EF4-FFF2-40B4-BE49-F238E27FC236}">
                <a16:creationId xmlns:a16="http://schemas.microsoft.com/office/drawing/2014/main" id="{CE5BBB2F-619D-DD4B-8F29-A1F415ED877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11044238" y="6573838"/>
            <a:ext cx="765175" cy="153987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2BE17AF2-79B5-DE47-B00C-2078B6FC686A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0333472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Текст и изображ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8">
            <a:extLst>
              <a:ext uri="{FF2B5EF4-FFF2-40B4-BE49-F238E27FC236}">
                <a16:creationId xmlns:a16="http://schemas.microsoft.com/office/drawing/2014/main" id="{76ECA4F6-D0CD-3141-BFE9-56D063099927}"/>
              </a:ext>
            </a:extLst>
          </p:cNvPr>
          <p:cNvSpPr/>
          <p:nvPr userDrawn="1"/>
        </p:nvSpPr>
        <p:spPr>
          <a:xfrm>
            <a:off x="77788" y="0"/>
            <a:ext cx="12114212" cy="6858000"/>
          </a:xfrm>
          <a:prstGeom prst="rect">
            <a:avLst/>
          </a:prstGeom>
          <a:solidFill>
            <a:srgbClr val="181C2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pic>
        <p:nvPicPr>
          <p:cNvPr id="7" name="Picture 8">
            <a:extLst>
              <a:ext uri="{FF2B5EF4-FFF2-40B4-BE49-F238E27FC236}">
                <a16:creationId xmlns:a16="http://schemas.microsoft.com/office/drawing/2014/main" id="{DA1AE46B-244F-4849-8E69-636AAD06E7B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88" y="0"/>
            <a:ext cx="381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Рисунок 8"/>
          <p:cNvSpPr>
            <a:spLocks noGrp="1"/>
          </p:cNvSpPr>
          <p:nvPr>
            <p:ph type="pic" sz="quarter" idx="14"/>
          </p:nvPr>
        </p:nvSpPr>
        <p:spPr>
          <a:xfrm>
            <a:off x="6307281" y="2"/>
            <a:ext cx="5884719" cy="6868391"/>
          </a:xfrm>
          <a:custGeom>
            <a:avLst/>
            <a:gdLst>
              <a:gd name="connsiteX0" fmla="*/ 0 w 6402324"/>
              <a:gd name="connsiteY0" fmla="*/ 6858000 h 6858000"/>
              <a:gd name="connsiteX1" fmla="*/ 1600581 w 6402324"/>
              <a:gd name="connsiteY1" fmla="*/ 0 h 6858000"/>
              <a:gd name="connsiteX2" fmla="*/ 6402324 w 6402324"/>
              <a:gd name="connsiteY2" fmla="*/ 0 h 6858000"/>
              <a:gd name="connsiteX3" fmla="*/ 4801743 w 6402324"/>
              <a:gd name="connsiteY3" fmla="*/ 6858000 h 6858000"/>
              <a:gd name="connsiteX4" fmla="*/ 0 w 6402324"/>
              <a:gd name="connsiteY4" fmla="*/ 6858000 h 6858000"/>
              <a:gd name="connsiteX0" fmla="*/ 0 w 6402324"/>
              <a:gd name="connsiteY0" fmla="*/ 6858000 h 6858000"/>
              <a:gd name="connsiteX1" fmla="*/ 381 w 6402324"/>
              <a:gd name="connsiteY1" fmla="*/ 0 h 6858000"/>
              <a:gd name="connsiteX2" fmla="*/ 6402324 w 6402324"/>
              <a:gd name="connsiteY2" fmla="*/ 0 h 6858000"/>
              <a:gd name="connsiteX3" fmla="*/ 4801743 w 6402324"/>
              <a:gd name="connsiteY3" fmla="*/ 6858000 h 6858000"/>
              <a:gd name="connsiteX4" fmla="*/ 0 w 6402324"/>
              <a:gd name="connsiteY4" fmla="*/ 6858000 h 6858000"/>
              <a:gd name="connsiteX0" fmla="*/ 0 w 8908457"/>
              <a:gd name="connsiteY0" fmla="*/ 6858000 h 6858000"/>
              <a:gd name="connsiteX1" fmla="*/ 381 w 8908457"/>
              <a:gd name="connsiteY1" fmla="*/ 0 h 6858000"/>
              <a:gd name="connsiteX2" fmla="*/ 8908457 w 8908457"/>
              <a:gd name="connsiteY2" fmla="*/ 0 h 6858000"/>
              <a:gd name="connsiteX3" fmla="*/ 4801743 w 8908457"/>
              <a:gd name="connsiteY3" fmla="*/ 6858000 h 6858000"/>
              <a:gd name="connsiteX4" fmla="*/ 0 w 8908457"/>
              <a:gd name="connsiteY4" fmla="*/ 6858000 h 6858000"/>
              <a:gd name="connsiteX0" fmla="*/ 0 w 8908457"/>
              <a:gd name="connsiteY0" fmla="*/ 6858000 h 6866467"/>
              <a:gd name="connsiteX1" fmla="*/ 381 w 8908457"/>
              <a:gd name="connsiteY1" fmla="*/ 0 h 6866467"/>
              <a:gd name="connsiteX2" fmla="*/ 8908457 w 8908457"/>
              <a:gd name="connsiteY2" fmla="*/ 0 h 6866467"/>
              <a:gd name="connsiteX3" fmla="*/ 6393476 w 8908457"/>
              <a:gd name="connsiteY3" fmla="*/ 6866467 h 6866467"/>
              <a:gd name="connsiteX4" fmla="*/ 0 w 8908457"/>
              <a:gd name="connsiteY4" fmla="*/ 6858000 h 6866467"/>
              <a:gd name="connsiteX0" fmla="*/ 0 w 8908457"/>
              <a:gd name="connsiteY0" fmla="*/ 6858000 h 6917267"/>
              <a:gd name="connsiteX1" fmla="*/ 381 w 8908457"/>
              <a:gd name="connsiteY1" fmla="*/ 0 h 6917267"/>
              <a:gd name="connsiteX2" fmla="*/ 8908457 w 8908457"/>
              <a:gd name="connsiteY2" fmla="*/ 0 h 6917267"/>
              <a:gd name="connsiteX3" fmla="*/ 6393476 w 8908457"/>
              <a:gd name="connsiteY3" fmla="*/ 6917267 h 6917267"/>
              <a:gd name="connsiteX4" fmla="*/ 0 w 8908457"/>
              <a:gd name="connsiteY4" fmla="*/ 6858000 h 6917267"/>
              <a:gd name="connsiteX0" fmla="*/ 0 w 8908457"/>
              <a:gd name="connsiteY0" fmla="*/ 6858000 h 6858000"/>
              <a:gd name="connsiteX1" fmla="*/ 381 w 8908457"/>
              <a:gd name="connsiteY1" fmla="*/ 0 h 6858000"/>
              <a:gd name="connsiteX2" fmla="*/ 8908457 w 8908457"/>
              <a:gd name="connsiteY2" fmla="*/ 0 h 6858000"/>
              <a:gd name="connsiteX3" fmla="*/ 6385010 w 8908457"/>
              <a:gd name="connsiteY3" fmla="*/ 6858000 h 6858000"/>
              <a:gd name="connsiteX4" fmla="*/ 0 w 8908457"/>
              <a:gd name="connsiteY4" fmla="*/ 6858000 h 6858000"/>
              <a:gd name="connsiteX0" fmla="*/ 0 w 8823790"/>
              <a:gd name="connsiteY0" fmla="*/ 6858000 h 6858000"/>
              <a:gd name="connsiteX1" fmla="*/ 381 w 8823790"/>
              <a:gd name="connsiteY1" fmla="*/ 0 h 6858000"/>
              <a:gd name="connsiteX2" fmla="*/ 8823790 w 8823790"/>
              <a:gd name="connsiteY2" fmla="*/ 8467 h 6858000"/>
              <a:gd name="connsiteX3" fmla="*/ 6385010 w 8823790"/>
              <a:gd name="connsiteY3" fmla="*/ 6858000 h 6858000"/>
              <a:gd name="connsiteX4" fmla="*/ 0 w 8823790"/>
              <a:gd name="connsiteY4" fmla="*/ 6858000 h 6858000"/>
              <a:gd name="connsiteX0" fmla="*/ 0 w 8874590"/>
              <a:gd name="connsiteY0" fmla="*/ 6858000 h 6858000"/>
              <a:gd name="connsiteX1" fmla="*/ 381 w 8874590"/>
              <a:gd name="connsiteY1" fmla="*/ 0 h 6858000"/>
              <a:gd name="connsiteX2" fmla="*/ 8874590 w 8874590"/>
              <a:gd name="connsiteY2" fmla="*/ 8467 h 6858000"/>
              <a:gd name="connsiteX3" fmla="*/ 6385010 w 8874590"/>
              <a:gd name="connsiteY3" fmla="*/ 6858000 h 6858000"/>
              <a:gd name="connsiteX4" fmla="*/ 0 w 8874590"/>
              <a:gd name="connsiteY4" fmla="*/ 6858000 h 6858000"/>
              <a:gd name="connsiteX0" fmla="*/ 0 w 8849190"/>
              <a:gd name="connsiteY0" fmla="*/ 6858000 h 6858000"/>
              <a:gd name="connsiteX1" fmla="*/ 381 w 8849190"/>
              <a:gd name="connsiteY1" fmla="*/ 0 h 6858000"/>
              <a:gd name="connsiteX2" fmla="*/ 8849190 w 8849190"/>
              <a:gd name="connsiteY2" fmla="*/ 16934 h 6858000"/>
              <a:gd name="connsiteX3" fmla="*/ 6385010 w 8849190"/>
              <a:gd name="connsiteY3" fmla="*/ 6858000 h 6858000"/>
              <a:gd name="connsiteX4" fmla="*/ 0 w 8849190"/>
              <a:gd name="connsiteY4" fmla="*/ 6858000 h 6858000"/>
              <a:gd name="connsiteX0" fmla="*/ 0 w 8586723"/>
              <a:gd name="connsiteY0" fmla="*/ 6858000 h 6858000"/>
              <a:gd name="connsiteX1" fmla="*/ 381 w 8586723"/>
              <a:gd name="connsiteY1" fmla="*/ 0 h 6858000"/>
              <a:gd name="connsiteX2" fmla="*/ 8586723 w 8586723"/>
              <a:gd name="connsiteY2" fmla="*/ 1 h 6858000"/>
              <a:gd name="connsiteX3" fmla="*/ 6385010 w 8586723"/>
              <a:gd name="connsiteY3" fmla="*/ 6858000 h 6858000"/>
              <a:gd name="connsiteX4" fmla="*/ 0 w 8586723"/>
              <a:gd name="connsiteY4" fmla="*/ 6858000 h 6858000"/>
              <a:gd name="connsiteX0" fmla="*/ 0 w 8874589"/>
              <a:gd name="connsiteY0" fmla="*/ 6858000 h 6858000"/>
              <a:gd name="connsiteX1" fmla="*/ 381 w 8874589"/>
              <a:gd name="connsiteY1" fmla="*/ 0 h 6858000"/>
              <a:gd name="connsiteX2" fmla="*/ 8874589 w 8874589"/>
              <a:gd name="connsiteY2" fmla="*/ 8468 h 6858000"/>
              <a:gd name="connsiteX3" fmla="*/ 6385010 w 8874589"/>
              <a:gd name="connsiteY3" fmla="*/ 6858000 h 6858000"/>
              <a:gd name="connsiteX4" fmla="*/ 0 w 8874589"/>
              <a:gd name="connsiteY4" fmla="*/ 6858000 h 6858000"/>
              <a:gd name="connsiteX0" fmla="*/ 0 w 8823789"/>
              <a:gd name="connsiteY0" fmla="*/ 6858000 h 6858000"/>
              <a:gd name="connsiteX1" fmla="*/ 381 w 8823789"/>
              <a:gd name="connsiteY1" fmla="*/ 0 h 6858000"/>
              <a:gd name="connsiteX2" fmla="*/ 8823789 w 8823789"/>
              <a:gd name="connsiteY2" fmla="*/ 16934 h 6858000"/>
              <a:gd name="connsiteX3" fmla="*/ 6385010 w 8823789"/>
              <a:gd name="connsiteY3" fmla="*/ 6858000 h 6858000"/>
              <a:gd name="connsiteX4" fmla="*/ 0 w 8823789"/>
              <a:gd name="connsiteY4" fmla="*/ 6858000 h 6858000"/>
              <a:gd name="connsiteX0" fmla="*/ 0 w 8883055"/>
              <a:gd name="connsiteY0" fmla="*/ 6858000 h 6858000"/>
              <a:gd name="connsiteX1" fmla="*/ 381 w 8883055"/>
              <a:gd name="connsiteY1" fmla="*/ 0 h 6858000"/>
              <a:gd name="connsiteX2" fmla="*/ 8883055 w 8883055"/>
              <a:gd name="connsiteY2" fmla="*/ 8467 h 6858000"/>
              <a:gd name="connsiteX3" fmla="*/ 6385010 w 8883055"/>
              <a:gd name="connsiteY3" fmla="*/ 6858000 h 6858000"/>
              <a:gd name="connsiteX4" fmla="*/ 0 w 8883055"/>
              <a:gd name="connsiteY4" fmla="*/ 6858000 h 6858000"/>
              <a:gd name="connsiteX0" fmla="*/ 0 w 8891522"/>
              <a:gd name="connsiteY0" fmla="*/ 6900333 h 6900333"/>
              <a:gd name="connsiteX1" fmla="*/ 381 w 8891522"/>
              <a:gd name="connsiteY1" fmla="*/ 42333 h 6900333"/>
              <a:gd name="connsiteX2" fmla="*/ 8891522 w 8891522"/>
              <a:gd name="connsiteY2" fmla="*/ 0 h 6900333"/>
              <a:gd name="connsiteX3" fmla="*/ 6385010 w 8891522"/>
              <a:gd name="connsiteY3" fmla="*/ 6900333 h 6900333"/>
              <a:gd name="connsiteX4" fmla="*/ 0 w 8891522"/>
              <a:gd name="connsiteY4" fmla="*/ 6900333 h 6900333"/>
              <a:gd name="connsiteX0" fmla="*/ 0 w 8891522"/>
              <a:gd name="connsiteY0" fmla="*/ 6858000 h 6858000"/>
              <a:gd name="connsiteX1" fmla="*/ 381 w 8891522"/>
              <a:gd name="connsiteY1" fmla="*/ 0 h 6858000"/>
              <a:gd name="connsiteX2" fmla="*/ 8891522 w 8891522"/>
              <a:gd name="connsiteY2" fmla="*/ 1 h 6858000"/>
              <a:gd name="connsiteX3" fmla="*/ 6385010 w 8891522"/>
              <a:gd name="connsiteY3" fmla="*/ 6858000 h 6858000"/>
              <a:gd name="connsiteX4" fmla="*/ 0 w 8891522"/>
              <a:gd name="connsiteY4" fmla="*/ 6858000 h 6858000"/>
              <a:gd name="connsiteX0" fmla="*/ 0 w 12200848"/>
              <a:gd name="connsiteY0" fmla="*/ 6858000 h 6858000"/>
              <a:gd name="connsiteX1" fmla="*/ 12200848 w 12200848"/>
              <a:gd name="connsiteY1" fmla="*/ 0 h 6858000"/>
              <a:gd name="connsiteX2" fmla="*/ 8891522 w 12200848"/>
              <a:gd name="connsiteY2" fmla="*/ 1 h 6858000"/>
              <a:gd name="connsiteX3" fmla="*/ 6385010 w 12200848"/>
              <a:gd name="connsiteY3" fmla="*/ 6858000 h 6858000"/>
              <a:gd name="connsiteX4" fmla="*/ 0 w 12200848"/>
              <a:gd name="connsiteY4" fmla="*/ 6858000 h 6858000"/>
              <a:gd name="connsiteX0" fmla="*/ 5823923 w 5823923"/>
              <a:gd name="connsiteY0" fmla="*/ 6858000 h 6858000"/>
              <a:gd name="connsiteX1" fmla="*/ 5815838 w 5823923"/>
              <a:gd name="connsiteY1" fmla="*/ 0 h 6858000"/>
              <a:gd name="connsiteX2" fmla="*/ 2506512 w 5823923"/>
              <a:gd name="connsiteY2" fmla="*/ 1 h 6858000"/>
              <a:gd name="connsiteX3" fmla="*/ 0 w 5823923"/>
              <a:gd name="connsiteY3" fmla="*/ 6858000 h 6858000"/>
              <a:gd name="connsiteX4" fmla="*/ 5823923 w 5823923"/>
              <a:gd name="connsiteY4" fmla="*/ 6858000 h 6858000"/>
              <a:gd name="connsiteX0" fmla="*/ 5900123 w 5900123"/>
              <a:gd name="connsiteY0" fmla="*/ 6874933 h 6874933"/>
              <a:gd name="connsiteX1" fmla="*/ 5815838 w 5900123"/>
              <a:gd name="connsiteY1" fmla="*/ 0 h 6874933"/>
              <a:gd name="connsiteX2" fmla="*/ 2506512 w 5900123"/>
              <a:gd name="connsiteY2" fmla="*/ 1 h 6874933"/>
              <a:gd name="connsiteX3" fmla="*/ 0 w 5900123"/>
              <a:gd name="connsiteY3" fmla="*/ 6858000 h 6874933"/>
              <a:gd name="connsiteX4" fmla="*/ 5900123 w 5900123"/>
              <a:gd name="connsiteY4" fmla="*/ 6874933 h 6874933"/>
              <a:gd name="connsiteX0" fmla="*/ 5815456 w 5815838"/>
              <a:gd name="connsiteY0" fmla="*/ 6866467 h 6866467"/>
              <a:gd name="connsiteX1" fmla="*/ 5815838 w 5815838"/>
              <a:gd name="connsiteY1" fmla="*/ 0 h 6866467"/>
              <a:gd name="connsiteX2" fmla="*/ 2506512 w 5815838"/>
              <a:gd name="connsiteY2" fmla="*/ 1 h 6866467"/>
              <a:gd name="connsiteX3" fmla="*/ 0 w 5815838"/>
              <a:gd name="connsiteY3" fmla="*/ 6858000 h 6866467"/>
              <a:gd name="connsiteX4" fmla="*/ 5815456 w 5815838"/>
              <a:gd name="connsiteY4" fmla="*/ 6866467 h 6866467"/>
              <a:gd name="connsiteX0" fmla="*/ 5815456 w 5815838"/>
              <a:gd name="connsiteY0" fmla="*/ 7001934 h 7001934"/>
              <a:gd name="connsiteX1" fmla="*/ 5815838 w 5815838"/>
              <a:gd name="connsiteY1" fmla="*/ 0 h 7001934"/>
              <a:gd name="connsiteX2" fmla="*/ 2506512 w 5815838"/>
              <a:gd name="connsiteY2" fmla="*/ 1 h 7001934"/>
              <a:gd name="connsiteX3" fmla="*/ 0 w 5815838"/>
              <a:gd name="connsiteY3" fmla="*/ 6858000 h 7001934"/>
              <a:gd name="connsiteX4" fmla="*/ 5815456 w 5815838"/>
              <a:gd name="connsiteY4" fmla="*/ 7001934 h 7001934"/>
              <a:gd name="connsiteX0" fmla="*/ 5823922 w 5823923"/>
              <a:gd name="connsiteY0" fmla="*/ 6858001 h 6858001"/>
              <a:gd name="connsiteX1" fmla="*/ 5815838 w 5823923"/>
              <a:gd name="connsiteY1" fmla="*/ 0 h 6858001"/>
              <a:gd name="connsiteX2" fmla="*/ 2506512 w 5823923"/>
              <a:gd name="connsiteY2" fmla="*/ 1 h 6858001"/>
              <a:gd name="connsiteX3" fmla="*/ 0 w 5823923"/>
              <a:gd name="connsiteY3" fmla="*/ 6858000 h 6858001"/>
              <a:gd name="connsiteX4" fmla="*/ 5823922 w 5823923"/>
              <a:gd name="connsiteY4" fmla="*/ 6858001 h 6858001"/>
              <a:gd name="connsiteX0" fmla="*/ 5942455 w 5942455"/>
              <a:gd name="connsiteY0" fmla="*/ 6866468 h 6866468"/>
              <a:gd name="connsiteX1" fmla="*/ 5815838 w 5942455"/>
              <a:gd name="connsiteY1" fmla="*/ 0 h 6866468"/>
              <a:gd name="connsiteX2" fmla="*/ 2506512 w 5942455"/>
              <a:gd name="connsiteY2" fmla="*/ 1 h 6866468"/>
              <a:gd name="connsiteX3" fmla="*/ 0 w 5942455"/>
              <a:gd name="connsiteY3" fmla="*/ 6858000 h 6866468"/>
              <a:gd name="connsiteX4" fmla="*/ 5942455 w 5942455"/>
              <a:gd name="connsiteY4" fmla="*/ 6866468 h 6866468"/>
              <a:gd name="connsiteX0" fmla="*/ 5806988 w 5815838"/>
              <a:gd name="connsiteY0" fmla="*/ 6874935 h 6874935"/>
              <a:gd name="connsiteX1" fmla="*/ 5815838 w 5815838"/>
              <a:gd name="connsiteY1" fmla="*/ 0 h 6874935"/>
              <a:gd name="connsiteX2" fmla="*/ 2506512 w 5815838"/>
              <a:gd name="connsiteY2" fmla="*/ 1 h 6874935"/>
              <a:gd name="connsiteX3" fmla="*/ 0 w 5815838"/>
              <a:gd name="connsiteY3" fmla="*/ 6858000 h 6874935"/>
              <a:gd name="connsiteX4" fmla="*/ 5806988 w 5815838"/>
              <a:gd name="connsiteY4" fmla="*/ 6874935 h 6874935"/>
              <a:gd name="connsiteX0" fmla="*/ 5806988 w 6958838"/>
              <a:gd name="connsiteY0" fmla="*/ 6874934 h 6874934"/>
              <a:gd name="connsiteX1" fmla="*/ 6958838 w 6958838"/>
              <a:gd name="connsiteY1" fmla="*/ 8466 h 6874934"/>
              <a:gd name="connsiteX2" fmla="*/ 2506512 w 6958838"/>
              <a:gd name="connsiteY2" fmla="*/ 0 h 6874934"/>
              <a:gd name="connsiteX3" fmla="*/ 0 w 6958838"/>
              <a:gd name="connsiteY3" fmla="*/ 6857999 h 6874934"/>
              <a:gd name="connsiteX4" fmla="*/ 5806988 w 6958838"/>
              <a:gd name="connsiteY4" fmla="*/ 6874934 h 6874934"/>
              <a:gd name="connsiteX0" fmla="*/ 6958455 w 6958838"/>
              <a:gd name="connsiteY0" fmla="*/ 6858001 h 6858001"/>
              <a:gd name="connsiteX1" fmla="*/ 6958838 w 6958838"/>
              <a:gd name="connsiteY1" fmla="*/ 8466 h 6858001"/>
              <a:gd name="connsiteX2" fmla="*/ 2506512 w 6958838"/>
              <a:gd name="connsiteY2" fmla="*/ 0 h 6858001"/>
              <a:gd name="connsiteX3" fmla="*/ 0 w 6958838"/>
              <a:gd name="connsiteY3" fmla="*/ 6857999 h 6858001"/>
              <a:gd name="connsiteX4" fmla="*/ 6958455 w 6958838"/>
              <a:gd name="connsiteY4" fmla="*/ 6858001 h 6858001"/>
              <a:gd name="connsiteX0" fmla="*/ 6958455 w 6967305"/>
              <a:gd name="connsiteY0" fmla="*/ 6858001 h 6858001"/>
              <a:gd name="connsiteX1" fmla="*/ 6967305 w 6967305"/>
              <a:gd name="connsiteY1" fmla="*/ 126999 h 6858001"/>
              <a:gd name="connsiteX2" fmla="*/ 2506512 w 6967305"/>
              <a:gd name="connsiteY2" fmla="*/ 0 h 6858001"/>
              <a:gd name="connsiteX3" fmla="*/ 0 w 6967305"/>
              <a:gd name="connsiteY3" fmla="*/ 6857999 h 6858001"/>
              <a:gd name="connsiteX4" fmla="*/ 6958455 w 6967305"/>
              <a:gd name="connsiteY4" fmla="*/ 6858001 h 6858001"/>
              <a:gd name="connsiteX0" fmla="*/ 6958455 w 6967305"/>
              <a:gd name="connsiteY0" fmla="*/ 6866469 h 6866469"/>
              <a:gd name="connsiteX1" fmla="*/ 6967305 w 6967305"/>
              <a:gd name="connsiteY1" fmla="*/ 0 h 6866469"/>
              <a:gd name="connsiteX2" fmla="*/ 2506512 w 6967305"/>
              <a:gd name="connsiteY2" fmla="*/ 8468 h 6866469"/>
              <a:gd name="connsiteX3" fmla="*/ 0 w 6967305"/>
              <a:gd name="connsiteY3" fmla="*/ 6866467 h 6866469"/>
              <a:gd name="connsiteX4" fmla="*/ 6958455 w 6967305"/>
              <a:gd name="connsiteY4" fmla="*/ 6866469 h 6866469"/>
              <a:gd name="connsiteX0" fmla="*/ 7102388 w 7102388"/>
              <a:gd name="connsiteY0" fmla="*/ 6858002 h 6866467"/>
              <a:gd name="connsiteX1" fmla="*/ 6967305 w 7102388"/>
              <a:gd name="connsiteY1" fmla="*/ 0 h 6866467"/>
              <a:gd name="connsiteX2" fmla="*/ 2506512 w 7102388"/>
              <a:gd name="connsiteY2" fmla="*/ 8468 h 6866467"/>
              <a:gd name="connsiteX3" fmla="*/ 0 w 7102388"/>
              <a:gd name="connsiteY3" fmla="*/ 6866467 h 6866467"/>
              <a:gd name="connsiteX4" fmla="*/ 7102388 w 7102388"/>
              <a:gd name="connsiteY4" fmla="*/ 6858002 h 6866467"/>
              <a:gd name="connsiteX0" fmla="*/ 6966921 w 6967305"/>
              <a:gd name="connsiteY0" fmla="*/ 6874935 h 6874935"/>
              <a:gd name="connsiteX1" fmla="*/ 6967305 w 6967305"/>
              <a:gd name="connsiteY1" fmla="*/ 0 h 6874935"/>
              <a:gd name="connsiteX2" fmla="*/ 2506512 w 6967305"/>
              <a:gd name="connsiteY2" fmla="*/ 8468 h 6874935"/>
              <a:gd name="connsiteX3" fmla="*/ 0 w 6967305"/>
              <a:gd name="connsiteY3" fmla="*/ 6866467 h 6874935"/>
              <a:gd name="connsiteX4" fmla="*/ 6966921 w 6967305"/>
              <a:gd name="connsiteY4" fmla="*/ 6874935 h 6874935"/>
              <a:gd name="connsiteX0" fmla="*/ 6983855 w 6983855"/>
              <a:gd name="connsiteY0" fmla="*/ 6968068 h 6968068"/>
              <a:gd name="connsiteX1" fmla="*/ 6967305 w 6983855"/>
              <a:gd name="connsiteY1" fmla="*/ 0 h 6968068"/>
              <a:gd name="connsiteX2" fmla="*/ 2506512 w 6983855"/>
              <a:gd name="connsiteY2" fmla="*/ 8468 h 6968068"/>
              <a:gd name="connsiteX3" fmla="*/ 0 w 6983855"/>
              <a:gd name="connsiteY3" fmla="*/ 6866467 h 6968068"/>
              <a:gd name="connsiteX4" fmla="*/ 6983855 w 6983855"/>
              <a:gd name="connsiteY4" fmla="*/ 6968068 h 6968068"/>
              <a:gd name="connsiteX0" fmla="*/ 6966921 w 6967305"/>
              <a:gd name="connsiteY0" fmla="*/ 6874934 h 6874934"/>
              <a:gd name="connsiteX1" fmla="*/ 6967305 w 6967305"/>
              <a:gd name="connsiteY1" fmla="*/ 0 h 6874934"/>
              <a:gd name="connsiteX2" fmla="*/ 2506512 w 6967305"/>
              <a:gd name="connsiteY2" fmla="*/ 8468 h 6874934"/>
              <a:gd name="connsiteX3" fmla="*/ 0 w 6967305"/>
              <a:gd name="connsiteY3" fmla="*/ 6866467 h 6874934"/>
              <a:gd name="connsiteX4" fmla="*/ 6966921 w 6967305"/>
              <a:gd name="connsiteY4" fmla="*/ 6874934 h 6874934"/>
              <a:gd name="connsiteX0" fmla="*/ 6966921 w 6966921"/>
              <a:gd name="connsiteY0" fmla="*/ 6866467 h 6866467"/>
              <a:gd name="connsiteX1" fmla="*/ 6120638 w 6966921"/>
              <a:gd name="connsiteY1" fmla="*/ 0 h 6866467"/>
              <a:gd name="connsiteX2" fmla="*/ 2506512 w 6966921"/>
              <a:gd name="connsiteY2" fmla="*/ 1 h 6866467"/>
              <a:gd name="connsiteX3" fmla="*/ 0 w 6966921"/>
              <a:gd name="connsiteY3" fmla="*/ 6858000 h 6866467"/>
              <a:gd name="connsiteX4" fmla="*/ 6966921 w 6966921"/>
              <a:gd name="connsiteY4" fmla="*/ 6866467 h 6866467"/>
              <a:gd name="connsiteX0" fmla="*/ 6120255 w 6120638"/>
              <a:gd name="connsiteY0" fmla="*/ 6858001 h 6858001"/>
              <a:gd name="connsiteX1" fmla="*/ 6120638 w 6120638"/>
              <a:gd name="connsiteY1" fmla="*/ 0 h 6858001"/>
              <a:gd name="connsiteX2" fmla="*/ 2506512 w 6120638"/>
              <a:gd name="connsiteY2" fmla="*/ 1 h 6858001"/>
              <a:gd name="connsiteX3" fmla="*/ 0 w 6120638"/>
              <a:gd name="connsiteY3" fmla="*/ 6858000 h 6858001"/>
              <a:gd name="connsiteX4" fmla="*/ 6120255 w 6120638"/>
              <a:gd name="connsiteY4" fmla="*/ 6858001 h 6858001"/>
              <a:gd name="connsiteX0" fmla="*/ 6120255 w 6120638"/>
              <a:gd name="connsiteY0" fmla="*/ 6858001 h 6858001"/>
              <a:gd name="connsiteX1" fmla="*/ 6120638 w 6120638"/>
              <a:gd name="connsiteY1" fmla="*/ 0 h 6858001"/>
              <a:gd name="connsiteX2" fmla="*/ 33475 w 6120638"/>
              <a:gd name="connsiteY2" fmla="*/ 41565 h 6858001"/>
              <a:gd name="connsiteX3" fmla="*/ 0 w 6120638"/>
              <a:gd name="connsiteY3" fmla="*/ 6858000 h 6858001"/>
              <a:gd name="connsiteX4" fmla="*/ 6120255 w 6120638"/>
              <a:gd name="connsiteY4" fmla="*/ 6858001 h 6858001"/>
              <a:gd name="connsiteX0" fmla="*/ 6086780 w 6087163"/>
              <a:gd name="connsiteY0" fmla="*/ 6858001 h 6868391"/>
              <a:gd name="connsiteX1" fmla="*/ 6087163 w 6087163"/>
              <a:gd name="connsiteY1" fmla="*/ 0 h 6868391"/>
              <a:gd name="connsiteX2" fmla="*/ 0 w 6087163"/>
              <a:gd name="connsiteY2" fmla="*/ 41565 h 6868391"/>
              <a:gd name="connsiteX3" fmla="*/ 195125 w 6087163"/>
              <a:gd name="connsiteY3" fmla="*/ 6868391 h 6868391"/>
              <a:gd name="connsiteX4" fmla="*/ 6086780 w 6087163"/>
              <a:gd name="connsiteY4" fmla="*/ 6858001 h 6868391"/>
              <a:gd name="connsiteX0" fmla="*/ 6086780 w 6087163"/>
              <a:gd name="connsiteY0" fmla="*/ 6858001 h 6868391"/>
              <a:gd name="connsiteX1" fmla="*/ 6087163 w 6087163"/>
              <a:gd name="connsiteY1" fmla="*/ 0 h 6868391"/>
              <a:gd name="connsiteX2" fmla="*/ 0 w 6087163"/>
              <a:gd name="connsiteY2" fmla="*/ 41565 h 6868391"/>
              <a:gd name="connsiteX3" fmla="*/ 8088 w 6087163"/>
              <a:gd name="connsiteY3" fmla="*/ 6868391 h 6868391"/>
              <a:gd name="connsiteX4" fmla="*/ 6086780 w 6087163"/>
              <a:gd name="connsiteY4" fmla="*/ 6858001 h 6868391"/>
              <a:gd name="connsiteX0" fmla="*/ 6086780 w 6087163"/>
              <a:gd name="connsiteY0" fmla="*/ 6858001 h 6868391"/>
              <a:gd name="connsiteX1" fmla="*/ 6087163 w 6087163"/>
              <a:gd name="connsiteY1" fmla="*/ 0 h 6868391"/>
              <a:gd name="connsiteX2" fmla="*/ 0 w 6087163"/>
              <a:gd name="connsiteY2" fmla="*/ 10392 h 6868391"/>
              <a:gd name="connsiteX3" fmla="*/ 8088 w 6087163"/>
              <a:gd name="connsiteY3" fmla="*/ 6868391 h 6868391"/>
              <a:gd name="connsiteX4" fmla="*/ 6086780 w 6087163"/>
              <a:gd name="connsiteY4" fmla="*/ 6858001 h 6868391"/>
              <a:gd name="connsiteX0" fmla="*/ 6086780 w 6087163"/>
              <a:gd name="connsiteY0" fmla="*/ 6858001 h 6868391"/>
              <a:gd name="connsiteX1" fmla="*/ 6087163 w 6087163"/>
              <a:gd name="connsiteY1" fmla="*/ 0 h 6868391"/>
              <a:gd name="connsiteX2" fmla="*/ 0 w 6087163"/>
              <a:gd name="connsiteY2" fmla="*/ 1 h 6868391"/>
              <a:gd name="connsiteX3" fmla="*/ 8088 w 6087163"/>
              <a:gd name="connsiteY3" fmla="*/ 6868391 h 6868391"/>
              <a:gd name="connsiteX4" fmla="*/ 6086780 w 6087163"/>
              <a:gd name="connsiteY4" fmla="*/ 6858001 h 68683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87163" h="6868391">
                <a:moveTo>
                  <a:pt x="6086780" y="6858001"/>
                </a:moveTo>
                <a:cubicBezTo>
                  <a:pt x="6086907" y="4569179"/>
                  <a:pt x="6087036" y="2288822"/>
                  <a:pt x="6087163" y="0"/>
                </a:cubicBezTo>
                <a:lnTo>
                  <a:pt x="0" y="1"/>
                </a:lnTo>
                <a:lnTo>
                  <a:pt x="8088" y="6868391"/>
                </a:lnTo>
                <a:lnTo>
                  <a:pt x="6086780" y="6858001"/>
                </a:lnTo>
                <a:close/>
              </a:path>
            </a:pathLst>
          </a:custGeom>
        </p:spPr>
        <p:txBody>
          <a:bodyPr rtlCol="0"/>
          <a:lstStyle/>
          <a:p>
            <a:pPr lvl="0"/>
            <a:endParaRPr lang="ru-RU" noProof="0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758824" y="2282824"/>
            <a:ext cx="5337175" cy="128240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aseline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>
              <a:buNone/>
              <a:defRPr baseline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2pPr>
            <a:lvl3pPr marL="914400" indent="0">
              <a:buNone/>
              <a:defRPr baseline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3pPr>
            <a:lvl4pPr marL="1371600" indent="0">
              <a:buNone/>
              <a:defRPr baseline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4pPr>
            <a:lvl5pPr marL="1828800" indent="0">
              <a:buNone/>
              <a:defRPr baseline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0" name="Заголовок 1"/>
          <p:cNvSpPr>
            <a:spLocks noGrp="1"/>
          </p:cNvSpPr>
          <p:nvPr>
            <p:ph type="title"/>
          </p:nvPr>
        </p:nvSpPr>
        <p:spPr>
          <a:xfrm>
            <a:off x="767291" y="478121"/>
            <a:ext cx="7228947" cy="720197"/>
          </a:xfrm>
        </p:spPr>
        <p:txBody>
          <a:bodyPr/>
          <a:lstStyle>
            <a:lvl1pPr>
              <a:defRPr sz="2600" b="0" i="0" cap="none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11" name="Объект 2"/>
          <p:cNvSpPr>
            <a:spLocks noGrp="1"/>
          </p:cNvSpPr>
          <p:nvPr>
            <p:ph idx="13"/>
          </p:nvPr>
        </p:nvSpPr>
        <p:spPr>
          <a:xfrm>
            <a:off x="767291" y="1298204"/>
            <a:ext cx="7228947" cy="2769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 baseline="0">
                <a:solidFill>
                  <a:srgbClr val="FAEB00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Нижний колонтитул 4">
            <a:extLst>
              <a:ext uri="{FF2B5EF4-FFF2-40B4-BE49-F238E27FC236}">
                <a16:creationId xmlns:a16="http://schemas.microsoft.com/office/drawing/2014/main" id="{2E3AAB8F-8788-6542-A378-04EACBDB6E1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766763" y="6573838"/>
            <a:ext cx="4114800" cy="200025"/>
          </a:xfrm>
        </p:spPr>
        <p:txBody>
          <a:bodyPr/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ru-RU"/>
              <a:t>Нижний </a:t>
            </a:r>
            <a:r>
              <a:rPr lang="ru-RU" err="1"/>
              <a:t>коллонтитул</a:t>
            </a:r>
            <a:endParaRPr lang="ru-RU"/>
          </a:p>
        </p:txBody>
      </p:sp>
      <p:sp>
        <p:nvSpPr>
          <p:cNvPr id="9" name="Номер слайда 5">
            <a:extLst>
              <a:ext uri="{FF2B5EF4-FFF2-40B4-BE49-F238E27FC236}">
                <a16:creationId xmlns:a16="http://schemas.microsoft.com/office/drawing/2014/main" id="{8C76073C-42BD-4143-ADBD-A7D8B5ADE3B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11044238" y="6573838"/>
            <a:ext cx="765175" cy="153987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A1A2A8DF-4054-4244-858B-5894355B83DC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94081233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рехколон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9FF22094-F348-DE4D-B58C-AF935121E69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88" y="0"/>
            <a:ext cx="381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758825" y="2282824"/>
            <a:ext cx="3430588" cy="119006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6" name="Объект 2"/>
          <p:cNvSpPr>
            <a:spLocks noGrp="1"/>
          </p:cNvSpPr>
          <p:nvPr>
            <p:ph idx="14"/>
          </p:nvPr>
        </p:nvSpPr>
        <p:spPr>
          <a:xfrm>
            <a:off x="8378825" y="2282824"/>
            <a:ext cx="3422650" cy="119006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7" name="Объект 2"/>
          <p:cNvSpPr>
            <a:spLocks noGrp="1"/>
          </p:cNvSpPr>
          <p:nvPr>
            <p:ph idx="15"/>
          </p:nvPr>
        </p:nvSpPr>
        <p:spPr>
          <a:xfrm>
            <a:off x="4572000" y="2282824"/>
            <a:ext cx="3424238" cy="119006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6" name="Заголовок 1"/>
          <p:cNvSpPr>
            <a:spLocks noGrp="1"/>
          </p:cNvSpPr>
          <p:nvPr>
            <p:ph type="title"/>
          </p:nvPr>
        </p:nvSpPr>
        <p:spPr>
          <a:xfrm>
            <a:off x="767291" y="478121"/>
            <a:ext cx="7228947" cy="645203"/>
          </a:xfrm>
        </p:spPr>
        <p:txBody>
          <a:bodyPr/>
          <a:lstStyle>
            <a:lvl1pPr>
              <a:defRPr sz="2600" b="0" i="0" cap="none" baseline="0"/>
            </a:lvl1pPr>
          </a:lstStyle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18" name="Объект 2"/>
          <p:cNvSpPr>
            <a:spLocks noGrp="1"/>
          </p:cNvSpPr>
          <p:nvPr>
            <p:ph idx="13"/>
          </p:nvPr>
        </p:nvSpPr>
        <p:spPr>
          <a:xfrm>
            <a:off x="767291" y="1298204"/>
            <a:ext cx="7228947" cy="2769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 baseline="0">
                <a:solidFill>
                  <a:srgbClr val="000000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Нижний колонтитул 4">
            <a:extLst>
              <a:ext uri="{FF2B5EF4-FFF2-40B4-BE49-F238E27FC236}">
                <a16:creationId xmlns:a16="http://schemas.microsoft.com/office/drawing/2014/main" id="{E494E477-D1FF-214F-A172-A0406C54C939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758825" y="6573838"/>
            <a:ext cx="4114800" cy="200025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r>
              <a:rPr lang="ru-RU"/>
              <a:t>Нижний </a:t>
            </a:r>
            <a:r>
              <a:rPr lang="ru-RU" err="1"/>
              <a:t>коллонтитул</a:t>
            </a:r>
            <a:endParaRPr lang="ru-RU"/>
          </a:p>
        </p:txBody>
      </p:sp>
      <p:sp>
        <p:nvSpPr>
          <p:cNvPr id="9" name="Номер слайда 5">
            <a:extLst>
              <a:ext uri="{FF2B5EF4-FFF2-40B4-BE49-F238E27FC236}">
                <a16:creationId xmlns:a16="http://schemas.microsoft.com/office/drawing/2014/main" id="{1793FE2E-EF00-834A-8789-D40B96C2FE7C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11044238" y="6573838"/>
            <a:ext cx="765175" cy="153987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E5521E86-09D5-4946-96C4-F588BCCA310C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8133380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Титульный слайд с фотоизображением">
    <p:bg>
      <p:bgPr>
        <a:blipFill dpi="0" rotWithShape="1">
          <a:blip r:embed="rId2">
            <a:lum/>
          </a:blip>
          <a:srcRect/>
          <a:stretch>
            <a:fillRect t="-17000" b="-17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Прямоугольник 16"/>
          <p:cNvSpPr/>
          <p:nvPr userDrawn="1"/>
        </p:nvSpPr>
        <p:spPr>
          <a:xfrm>
            <a:off x="-11575" y="0"/>
            <a:ext cx="770400" cy="6858000"/>
          </a:xfrm>
          <a:prstGeom prst="rect">
            <a:avLst/>
          </a:prstGeom>
          <a:solidFill>
            <a:srgbClr val="FAEB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" name="Shape 134"/>
          <p:cNvSpPr>
            <a:spLocks noChangeArrowheads="1"/>
          </p:cNvSpPr>
          <p:nvPr userDrawn="1"/>
        </p:nvSpPr>
        <p:spPr bwMode="auto">
          <a:xfrm>
            <a:off x="105698" y="6510852"/>
            <a:ext cx="653128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wrap="square" lIns="45719" rIns="45719">
            <a:spAutoFit/>
          </a:bodyPr>
          <a:lstStyle/>
          <a:p>
            <a:pPr eaLnBrk="1"/>
            <a:r>
              <a:rPr lang="ru-RU" sz="600" dirty="0">
                <a:solidFill>
                  <a:schemeClr val="tx1"/>
                </a:solidFill>
                <a:sym typeface="Arial" charset="0"/>
              </a:rPr>
              <a:t>Просто. Четко.</a:t>
            </a:r>
          </a:p>
          <a:p>
            <a:pPr eaLnBrk="1"/>
            <a:r>
              <a:rPr lang="ru-RU" sz="600" dirty="0">
                <a:solidFill>
                  <a:schemeClr val="tx1"/>
                </a:solidFill>
                <a:sym typeface="Arial" charset="0"/>
              </a:rPr>
              <a:t>Компетентно.</a:t>
            </a:r>
          </a:p>
        </p:txBody>
      </p:sp>
      <p:pic>
        <p:nvPicPr>
          <p:cNvPr id="18" name="Рисунок 17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5120" y="153888"/>
            <a:ext cx="468000" cy="2129489"/>
          </a:xfrm>
          <a:prstGeom prst="rect">
            <a:avLst/>
          </a:prstGeom>
        </p:spPr>
      </p:pic>
      <p:sp>
        <p:nvSpPr>
          <p:cNvPr id="6" name="Rectangle 4"/>
          <p:cNvSpPr/>
          <p:nvPr userDrawn="1"/>
        </p:nvSpPr>
        <p:spPr>
          <a:xfrm>
            <a:off x="755651" y="0"/>
            <a:ext cx="6109757" cy="6858000"/>
          </a:xfrm>
          <a:prstGeom prst="rect">
            <a:avLst/>
          </a:prstGeom>
          <a:solidFill>
            <a:srgbClr val="181C2B">
              <a:alpha val="7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Заголовок 1"/>
          <p:cNvSpPr>
            <a:spLocks noGrp="1"/>
          </p:cNvSpPr>
          <p:nvPr>
            <p:ph type="ctrTitle"/>
          </p:nvPr>
        </p:nvSpPr>
        <p:spPr>
          <a:xfrm>
            <a:off x="1149881" y="1144588"/>
            <a:ext cx="5322357" cy="553998"/>
          </a:xfrm>
        </p:spPr>
        <p:txBody>
          <a:bodyPr anchor="t"/>
          <a:lstStyle>
            <a:lvl1pPr algn="l">
              <a:defRPr sz="4000" b="0" i="0" cap="none" baseline="0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8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149881" y="1906588"/>
            <a:ext cx="5322358" cy="332399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buNone/>
              <a:defRPr sz="2400" b="0" i="0" baseline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17593599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иктограммы три колонк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6">
            <a:extLst>
              <a:ext uri="{FF2B5EF4-FFF2-40B4-BE49-F238E27FC236}">
                <a16:creationId xmlns:a16="http://schemas.microsoft.com/office/drawing/2014/main" id="{ACF67097-E768-984B-948B-BD90C0F860C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88" y="0"/>
            <a:ext cx="381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758825" y="3429000"/>
            <a:ext cx="3430588" cy="119006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6" name="Заголовок 1"/>
          <p:cNvSpPr>
            <a:spLocks noGrp="1"/>
          </p:cNvSpPr>
          <p:nvPr>
            <p:ph type="title"/>
          </p:nvPr>
        </p:nvSpPr>
        <p:spPr>
          <a:xfrm>
            <a:off x="767291" y="478121"/>
            <a:ext cx="7228947" cy="645203"/>
          </a:xfrm>
        </p:spPr>
        <p:txBody>
          <a:bodyPr/>
          <a:lstStyle>
            <a:lvl1pPr>
              <a:defRPr sz="2600" b="0" i="0" cap="none" baseline="0"/>
            </a:lvl1pPr>
          </a:lstStyle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18" name="Объект 2"/>
          <p:cNvSpPr>
            <a:spLocks noGrp="1"/>
          </p:cNvSpPr>
          <p:nvPr>
            <p:ph idx="13"/>
          </p:nvPr>
        </p:nvSpPr>
        <p:spPr>
          <a:xfrm>
            <a:off x="767291" y="1298204"/>
            <a:ext cx="7228947" cy="2769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 baseline="0">
                <a:solidFill>
                  <a:srgbClr val="000000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9" name="Рисунок 8"/>
          <p:cNvSpPr>
            <a:spLocks noGrp="1"/>
          </p:cNvSpPr>
          <p:nvPr>
            <p:ph type="pic" sz="quarter" idx="16"/>
          </p:nvPr>
        </p:nvSpPr>
        <p:spPr>
          <a:xfrm>
            <a:off x="758825" y="2282823"/>
            <a:ext cx="765175" cy="765177"/>
          </a:xfrm>
          <a:custGeom>
            <a:avLst/>
            <a:gdLst>
              <a:gd name="connsiteX0" fmla="*/ 0 w 6402324"/>
              <a:gd name="connsiteY0" fmla="*/ 6858000 h 6858000"/>
              <a:gd name="connsiteX1" fmla="*/ 1600581 w 6402324"/>
              <a:gd name="connsiteY1" fmla="*/ 0 h 6858000"/>
              <a:gd name="connsiteX2" fmla="*/ 6402324 w 6402324"/>
              <a:gd name="connsiteY2" fmla="*/ 0 h 6858000"/>
              <a:gd name="connsiteX3" fmla="*/ 4801743 w 6402324"/>
              <a:gd name="connsiteY3" fmla="*/ 6858000 h 6858000"/>
              <a:gd name="connsiteX4" fmla="*/ 0 w 6402324"/>
              <a:gd name="connsiteY4" fmla="*/ 6858000 h 6858000"/>
              <a:gd name="connsiteX0" fmla="*/ 0 w 6402324"/>
              <a:gd name="connsiteY0" fmla="*/ 6858000 h 6858000"/>
              <a:gd name="connsiteX1" fmla="*/ 381 w 6402324"/>
              <a:gd name="connsiteY1" fmla="*/ 0 h 6858000"/>
              <a:gd name="connsiteX2" fmla="*/ 6402324 w 6402324"/>
              <a:gd name="connsiteY2" fmla="*/ 0 h 6858000"/>
              <a:gd name="connsiteX3" fmla="*/ 4801743 w 6402324"/>
              <a:gd name="connsiteY3" fmla="*/ 6858000 h 6858000"/>
              <a:gd name="connsiteX4" fmla="*/ 0 w 6402324"/>
              <a:gd name="connsiteY4" fmla="*/ 6858000 h 6858000"/>
              <a:gd name="connsiteX0" fmla="*/ 0 w 8908457"/>
              <a:gd name="connsiteY0" fmla="*/ 6858000 h 6858000"/>
              <a:gd name="connsiteX1" fmla="*/ 381 w 8908457"/>
              <a:gd name="connsiteY1" fmla="*/ 0 h 6858000"/>
              <a:gd name="connsiteX2" fmla="*/ 8908457 w 8908457"/>
              <a:gd name="connsiteY2" fmla="*/ 0 h 6858000"/>
              <a:gd name="connsiteX3" fmla="*/ 4801743 w 8908457"/>
              <a:gd name="connsiteY3" fmla="*/ 6858000 h 6858000"/>
              <a:gd name="connsiteX4" fmla="*/ 0 w 8908457"/>
              <a:gd name="connsiteY4" fmla="*/ 6858000 h 6858000"/>
              <a:gd name="connsiteX0" fmla="*/ 0 w 8908457"/>
              <a:gd name="connsiteY0" fmla="*/ 6858000 h 6866467"/>
              <a:gd name="connsiteX1" fmla="*/ 381 w 8908457"/>
              <a:gd name="connsiteY1" fmla="*/ 0 h 6866467"/>
              <a:gd name="connsiteX2" fmla="*/ 8908457 w 8908457"/>
              <a:gd name="connsiteY2" fmla="*/ 0 h 6866467"/>
              <a:gd name="connsiteX3" fmla="*/ 6393476 w 8908457"/>
              <a:gd name="connsiteY3" fmla="*/ 6866467 h 6866467"/>
              <a:gd name="connsiteX4" fmla="*/ 0 w 8908457"/>
              <a:gd name="connsiteY4" fmla="*/ 6858000 h 6866467"/>
              <a:gd name="connsiteX0" fmla="*/ 0 w 8908457"/>
              <a:gd name="connsiteY0" fmla="*/ 6858000 h 6917267"/>
              <a:gd name="connsiteX1" fmla="*/ 381 w 8908457"/>
              <a:gd name="connsiteY1" fmla="*/ 0 h 6917267"/>
              <a:gd name="connsiteX2" fmla="*/ 8908457 w 8908457"/>
              <a:gd name="connsiteY2" fmla="*/ 0 h 6917267"/>
              <a:gd name="connsiteX3" fmla="*/ 6393476 w 8908457"/>
              <a:gd name="connsiteY3" fmla="*/ 6917267 h 6917267"/>
              <a:gd name="connsiteX4" fmla="*/ 0 w 8908457"/>
              <a:gd name="connsiteY4" fmla="*/ 6858000 h 6917267"/>
              <a:gd name="connsiteX0" fmla="*/ 0 w 8908457"/>
              <a:gd name="connsiteY0" fmla="*/ 6858000 h 6858000"/>
              <a:gd name="connsiteX1" fmla="*/ 381 w 8908457"/>
              <a:gd name="connsiteY1" fmla="*/ 0 h 6858000"/>
              <a:gd name="connsiteX2" fmla="*/ 8908457 w 8908457"/>
              <a:gd name="connsiteY2" fmla="*/ 0 h 6858000"/>
              <a:gd name="connsiteX3" fmla="*/ 6385010 w 8908457"/>
              <a:gd name="connsiteY3" fmla="*/ 6858000 h 6858000"/>
              <a:gd name="connsiteX4" fmla="*/ 0 w 8908457"/>
              <a:gd name="connsiteY4" fmla="*/ 6858000 h 6858000"/>
              <a:gd name="connsiteX0" fmla="*/ 0 w 8823790"/>
              <a:gd name="connsiteY0" fmla="*/ 6858000 h 6858000"/>
              <a:gd name="connsiteX1" fmla="*/ 381 w 8823790"/>
              <a:gd name="connsiteY1" fmla="*/ 0 h 6858000"/>
              <a:gd name="connsiteX2" fmla="*/ 8823790 w 8823790"/>
              <a:gd name="connsiteY2" fmla="*/ 8467 h 6858000"/>
              <a:gd name="connsiteX3" fmla="*/ 6385010 w 8823790"/>
              <a:gd name="connsiteY3" fmla="*/ 6858000 h 6858000"/>
              <a:gd name="connsiteX4" fmla="*/ 0 w 8823790"/>
              <a:gd name="connsiteY4" fmla="*/ 6858000 h 6858000"/>
              <a:gd name="connsiteX0" fmla="*/ 0 w 8874590"/>
              <a:gd name="connsiteY0" fmla="*/ 6858000 h 6858000"/>
              <a:gd name="connsiteX1" fmla="*/ 381 w 8874590"/>
              <a:gd name="connsiteY1" fmla="*/ 0 h 6858000"/>
              <a:gd name="connsiteX2" fmla="*/ 8874590 w 8874590"/>
              <a:gd name="connsiteY2" fmla="*/ 8467 h 6858000"/>
              <a:gd name="connsiteX3" fmla="*/ 6385010 w 8874590"/>
              <a:gd name="connsiteY3" fmla="*/ 6858000 h 6858000"/>
              <a:gd name="connsiteX4" fmla="*/ 0 w 8874590"/>
              <a:gd name="connsiteY4" fmla="*/ 6858000 h 6858000"/>
              <a:gd name="connsiteX0" fmla="*/ 0 w 8849190"/>
              <a:gd name="connsiteY0" fmla="*/ 6858000 h 6858000"/>
              <a:gd name="connsiteX1" fmla="*/ 381 w 8849190"/>
              <a:gd name="connsiteY1" fmla="*/ 0 h 6858000"/>
              <a:gd name="connsiteX2" fmla="*/ 8849190 w 8849190"/>
              <a:gd name="connsiteY2" fmla="*/ 16934 h 6858000"/>
              <a:gd name="connsiteX3" fmla="*/ 6385010 w 8849190"/>
              <a:gd name="connsiteY3" fmla="*/ 6858000 h 6858000"/>
              <a:gd name="connsiteX4" fmla="*/ 0 w 8849190"/>
              <a:gd name="connsiteY4" fmla="*/ 6858000 h 6858000"/>
              <a:gd name="connsiteX0" fmla="*/ 0 w 8586723"/>
              <a:gd name="connsiteY0" fmla="*/ 6858000 h 6858000"/>
              <a:gd name="connsiteX1" fmla="*/ 381 w 8586723"/>
              <a:gd name="connsiteY1" fmla="*/ 0 h 6858000"/>
              <a:gd name="connsiteX2" fmla="*/ 8586723 w 8586723"/>
              <a:gd name="connsiteY2" fmla="*/ 1 h 6858000"/>
              <a:gd name="connsiteX3" fmla="*/ 6385010 w 8586723"/>
              <a:gd name="connsiteY3" fmla="*/ 6858000 h 6858000"/>
              <a:gd name="connsiteX4" fmla="*/ 0 w 8586723"/>
              <a:gd name="connsiteY4" fmla="*/ 6858000 h 6858000"/>
              <a:gd name="connsiteX0" fmla="*/ 0 w 8874589"/>
              <a:gd name="connsiteY0" fmla="*/ 6858000 h 6858000"/>
              <a:gd name="connsiteX1" fmla="*/ 381 w 8874589"/>
              <a:gd name="connsiteY1" fmla="*/ 0 h 6858000"/>
              <a:gd name="connsiteX2" fmla="*/ 8874589 w 8874589"/>
              <a:gd name="connsiteY2" fmla="*/ 8468 h 6858000"/>
              <a:gd name="connsiteX3" fmla="*/ 6385010 w 8874589"/>
              <a:gd name="connsiteY3" fmla="*/ 6858000 h 6858000"/>
              <a:gd name="connsiteX4" fmla="*/ 0 w 8874589"/>
              <a:gd name="connsiteY4" fmla="*/ 6858000 h 6858000"/>
              <a:gd name="connsiteX0" fmla="*/ 0 w 8823789"/>
              <a:gd name="connsiteY0" fmla="*/ 6858000 h 6858000"/>
              <a:gd name="connsiteX1" fmla="*/ 381 w 8823789"/>
              <a:gd name="connsiteY1" fmla="*/ 0 h 6858000"/>
              <a:gd name="connsiteX2" fmla="*/ 8823789 w 8823789"/>
              <a:gd name="connsiteY2" fmla="*/ 16934 h 6858000"/>
              <a:gd name="connsiteX3" fmla="*/ 6385010 w 8823789"/>
              <a:gd name="connsiteY3" fmla="*/ 6858000 h 6858000"/>
              <a:gd name="connsiteX4" fmla="*/ 0 w 8823789"/>
              <a:gd name="connsiteY4" fmla="*/ 6858000 h 6858000"/>
              <a:gd name="connsiteX0" fmla="*/ 0 w 8883055"/>
              <a:gd name="connsiteY0" fmla="*/ 6858000 h 6858000"/>
              <a:gd name="connsiteX1" fmla="*/ 381 w 8883055"/>
              <a:gd name="connsiteY1" fmla="*/ 0 h 6858000"/>
              <a:gd name="connsiteX2" fmla="*/ 8883055 w 8883055"/>
              <a:gd name="connsiteY2" fmla="*/ 8467 h 6858000"/>
              <a:gd name="connsiteX3" fmla="*/ 6385010 w 8883055"/>
              <a:gd name="connsiteY3" fmla="*/ 6858000 h 6858000"/>
              <a:gd name="connsiteX4" fmla="*/ 0 w 8883055"/>
              <a:gd name="connsiteY4" fmla="*/ 6858000 h 6858000"/>
              <a:gd name="connsiteX0" fmla="*/ 0 w 8891522"/>
              <a:gd name="connsiteY0" fmla="*/ 6900333 h 6900333"/>
              <a:gd name="connsiteX1" fmla="*/ 381 w 8891522"/>
              <a:gd name="connsiteY1" fmla="*/ 42333 h 6900333"/>
              <a:gd name="connsiteX2" fmla="*/ 8891522 w 8891522"/>
              <a:gd name="connsiteY2" fmla="*/ 0 h 6900333"/>
              <a:gd name="connsiteX3" fmla="*/ 6385010 w 8891522"/>
              <a:gd name="connsiteY3" fmla="*/ 6900333 h 6900333"/>
              <a:gd name="connsiteX4" fmla="*/ 0 w 8891522"/>
              <a:gd name="connsiteY4" fmla="*/ 6900333 h 6900333"/>
              <a:gd name="connsiteX0" fmla="*/ 0 w 8891522"/>
              <a:gd name="connsiteY0" fmla="*/ 6858000 h 6858000"/>
              <a:gd name="connsiteX1" fmla="*/ 381 w 8891522"/>
              <a:gd name="connsiteY1" fmla="*/ 0 h 6858000"/>
              <a:gd name="connsiteX2" fmla="*/ 8891522 w 8891522"/>
              <a:gd name="connsiteY2" fmla="*/ 1 h 6858000"/>
              <a:gd name="connsiteX3" fmla="*/ 6385010 w 8891522"/>
              <a:gd name="connsiteY3" fmla="*/ 6858000 h 6858000"/>
              <a:gd name="connsiteX4" fmla="*/ 0 w 8891522"/>
              <a:gd name="connsiteY4" fmla="*/ 6858000 h 6858000"/>
              <a:gd name="connsiteX0" fmla="*/ 0 w 12200848"/>
              <a:gd name="connsiteY0" fmla="*/ 6858000 h 6858000"/>
              <a:gd name="connsiteX1" fmla="*/ 12200848 w 12200848"/>
              <a:gd name="connsiteY1" fmla="*/ 0 h 6858000"/>
              <a:gd name="connsiteX2" fmla="*/ 8891522 w 12200848"/>
              <a:gd name="connsiteY2" fmla="*/ 1 h 6858000"/>
              <a:gd name="connsiteX3" fmla="*/ 6385010 w 12200848"/>
              <a:gd name="connsiteY3" fmla="*/ 6858000 h 6858000"/>
              <a:gd name="connsiteX4" fmla="*/ 0 w 12200848"/>
              <a:gd name="connsiteY4" fmla="*/ 6858000 h 6858000"/>
              <a:gd name="connsiteX0" fmla="*/ 5823923 w 5823923"/>
              <a:gd name="connsiteY0" fmla="*/ 6858000 h 6858000"/>
              <a:gd name="connsiteX1" fmla="*/ 5815838 w 5823923"/>
              <a:gd name="connsiteY1" fmla="*/ 0 h 6858000"/>
              <a:gd name="connsiteX2" fmla="*/ 2506512 w 5823923"/>
              <a:gd name="connsiteY2" fmla="*/ 1 h 6858000"/>
              <a:gd name="connsiteX3" fmla="*/ 0 w 5823923"/>
              <a:gd name="connsiteY3" fmla="*/ 6858000 h 6858000"/>
              <a:gd name="connsiteX4" fmla="*/ 5823923 w 5823923"/>
              <a:gd name="connsiteY4" fmla="*/ 6858000 h 6858000"/>
              <a:gd name="connsiteX0" fmla="*/ 5900123 w 5900123"/>
              <a:gd name="connsiteY0" fmla="*/ 6874933 h 6874933"/>
              <a:gd name="connsiteX1" fmla="*/ 5815838 w 5900123"/>
              <a:gd name="connsiteY1" fmla="*/ 0 h 6874933"/>
              <a:gd name="connsiteX2" fmla="*/ 2506512 w 5900123"/>
              <a:gd name="connsiteY2" fmla="*/ 1 h 6874933"/>
              <a:gd name="connsiteX3" fmla="*/ 0 w 5900123"/>
              <a:gd name="connsiteY3" fmla="*/ 6858000 h 6874933"/>
              <a:gd name="connsiteX4" fmla="*/ 5900123 w 5900123"/>
              <a:gd name="connsiteY4" fmla="*/ 6874933 h 6874933"/>
              <a:gd name="connsiteX0" fmla="*/ 5815456 w 5815838"/>
              <a:gd name="connsiteY0" fmla="*/ 6866467 h 6866467"/>
              <a:gd name="connsiteX1" fmla="*/ 5815838 w 5815838"/>
              <a:gd name="connsiteY1" fmla="*/ 0 h 6866467"/>
              <a:gd name="connsiteX2" fmla="*/ 2506512 w 5815838"/>
              <a:gd name="connsiteY2" fmla="*/ 1 h 6866467"/>
              <a:gd name="connsiteX3" fmla="*/ 0 w 5815838"/>
              <a:gd name="connsiteY3" fmla="*/ 6858000 h 6866467"/>
              <a:gd name="connsiteX4" fmla="*/ 5815456 w 5815838"/>
              <a:gd name="connsiteY4" fmla="*/ 6866467 h 6866467"/>
              <a:gd name="connsiteX0" fmla="*/ 5815456 w 5815838"/>
              <a:gd name="connsiteY0" fmla="*/ 7001934 h 7001934"/>
              <a:gd name="connsiteX1" fmla="*/ 5815838 w 5815838"/>
              <a:gd name="connsiteY1" fmla="*/ 0 h 7001934"/>
              <a:gd name="connsiteX2" fmla="*/ 2506512 w 5815838"/>
              <a:gd name="connsiteY2" fmla="*/ 1 h 7001934"/>
              <a:gd name="connsiteX3" fmla="*/ 0 w 5815838"/>
              <a:gd name="connsiteY3" fmla="*/ 6858000 h 7001934"/>
              <a:gd name="connsiteX4" fmla="*/ 5815456 w 5815838"/>
              <a:gd name="connsiteY4" fmla="*/ 7001934 h 7001934"/>
              <a:gd name="connsiteX0" fmla="*/ 5823922 w 5823923"/>
              <a:gd name="connsiteY0" fmla="*/ 6858001 h 6858001"/>
              <a:gd name="connsiteX1" fmla="*/ 5815838 w 5823923"/>
              <a:gd name="connsiteY1" fmla="*/ 0 h 6858001"/>
              <a:gd name="connsiteX2" fmla="*/ 2506512 w 5823923"/>
              <a:gd name="connsiteY2" fmla="*/ 1 h 6858001"/>
              <a:gd name="connsiteX3" fmla="*/ 0 w 5823923"/>
              <a:gd name="connsiteY3" fmla="*/ 6858000 h 6858001"/>
              <a:gd name="connsiteX4" fmla="*/ 5823922 w 5823923"/>
              <a:gd name="connsiteY4" fmla="*/ 6858001 h 6858001"/>
              <a:gd name="connsiteX0" fmla="*/ 5942455 w 5942455"/>
              <a:gd name="connsiteY0" fmla="*/ 6866468 h 6866468"/>
              <a:gd name="connsiteX1" fmla="*/ 5815838 w 5942455"/>
              <a:gd name="connsiteY1" fmla="*/ 0 h 6866468"/>
              <a:gd name="connsiteX2" fmla="*/ 2506512 w 5942455"/>
              <a:gd name="connsiteY2" fmla="*/ 1 h 6866468"/>
              <a:gd name="connsiteX3" fmla="*/ 0 w 5942455"/>
              <a:gd name="connsiteY3" fmla="*/ 6858000 h 6866468"/>
              <a:gd name="connsiteX4" fmla="*/ 5942455 w 5942455"/>
              <a:gd name="connsiteY4" fmla="*/ 6866468 h 6866468"/>
              <a:gd name="connsiteX0" fmla="*/ 5806988 w 5815838"/>
              <a:gd name="connsiteY0" fmla="*/ 6874935 h 6874935"/>
              <a:gd name="connsiteX1" fmla="*/ 5815838 w 5815838"/>
              <a:gd name="connsiteY1" fmla="*/ 0 h 6874935"/>
              <a:gd name="connsiteX2" fmla="*/ 2506512 w 5815838"/>
              <a:gd name="connsiteY2" fmla="*/ 1 h 6874935"/>
              <a:gd name="connsiteX3" fmla="*/ 0 w 5815838"/>
              <a:gd name="connsiteY3" fmla="*/ 6858000 h 6874935"/>
              <a:gd name="connsiteX4" fmla="*/ 5806988 w 5815838"/>
              <a:gd name="connsiteY4" fmla="*/ 6874935 h 6874935"/>
              <a:gd name="connsiteX0" fmla="*/ 5806988 w 6958838"/>
              <a:gd name="connsiteY0" fmla="*/ 6874934 h 6874934"/>
              <a:gd name="connsiteX1" fmla="*/ 6958838 w 6958838"/>
              <a:gd name="connsiteY1" fmla="*/ 8466 h 6874934"/>
              <a:gd name="connsiteX2" fmla="*/ 2506512 w 6958838"/>
              <a:gd name="connsiteY2" fmla="*/ 0 h 6874934"/>
              <a:gd name="connsiteX3" fmla="*/ 0 w 6958838"/>
              <a:gd name="connsiteY3" fmla="*/ 6857999 h 6874934"/>
              <a:gd name="connsiteX4" fmla="*/ 5806988 w 6958838"/>
              <a:gd name="connsiteY4" fmla="*/ 6874934 h 6874934"/>
              <a:gd name="connsiteX0" fmla="*/ 6958455 w 6958838"/>
              <a:gd name="connsiteY0" fmla="*/ 6858001 h 6858001"/>
              <a:gd name="connsiteX1" fmla="*/ 6958838 w 6958838"/>
              <a:gd name="connsiteY1" fmla="*/ 8466 h 6858001"/>
              <a:gd name="connsiteX2" fmla="*/ 2506512 w 6958838"/>
              <a:gd name="connsiteY2" fmla="*/ 0 h 6858001"/>
              <a:gd name="connsiteX3" fmla="*/ 0 w 6958838"/>
              <a:gd name="connsiteY3" fmla="*/ 6857999 h 6858001"/>
              <a:gd name="connsiteX4" fmla="*/ 6958455 w 6958838"/>
              <a:gd name="connsiteY4" fmla="*/ 6858001 h 6858001"/>
              <a:gd name="connsiteX0" fmla="*/ 6958455 w 6967305"/>
              <a:gd name="connsiteY0" fmla="*/ 6858001 h 6858001"/>
              <a:gd name="connsiteX1" fmla="*/ 6967305 w 6967305"/>
              <a:gd name="connsiteY1" fmla="*/ 126999 h 6858001"/>
              <a:gd name="connsiteX2" fmla="*/ 2506512 w 6967305"/>
              <a:gd name="connsiteY2" fmla="*/ 0 h 6858001"/>
              <a:gd name="connsiteX3" fmla="*/ 0 w 6967305"/>
              <a:gd name="connsiteY3" fmla="*/ 6857999 h 6858001"/>
              <a:gd name="connsiteX4" fmla="*/ 6958455 w 6967305"/>
              <a:gd name="connsiteY4" fmla="*/ 6858001 h 6858001"/>
              <a:gd name="connsiteX0" fmla="*/ 6958455 w 6967305"/>
              <a:gd name="connsiteY0" fmla="*/ 6866469 h 6866469"/>
              <a:gd name="connsiteX1" fmla="*/ 6967305 w 6967305"/>
              <a:gd name="connsiteY1" fmla="*/ 0 h 6866469"/>
              <a:gd name="connsiteX2" fmla="*/ 2506512 w 6967305"/>
              <a:gd name="connsiteY2" fmla="*/ 8468 h 6866469"/>
              <a:gd name="connsiteX3" fmla="*/ 0 w 6967305"/>
              <a:gd name="connsiteY3" fmla="*/ 6866467 h 6866469"/>
              <a:gd name="connsiteX4" fmla="*/ 6958455 w 6967305"/>
              <a:gd name="connsiteY4" fmla="*/ 6866469 h 6866469"/>
              <a:gd name="connsiteX0" fmla="*/ 7102388 w 7102388"/>
              <a:gd name="connsiteY0" fmla="*/ 6858002 h 6866467"/>
              <a:gd name="connsiteX1" fmla="*/ 6967305 w 7102388"/>
              <a:gd name="connsiteY1" fmla="*/ 0 h 6866467"/>
              <a:gd name="connsiteX2" fmla="*/ 2506512 w 7102388"/>
              <a:gd name="connsiteY2" fmla="*/ 8468 h 6866467"/>
              <a:gd name="connsiteX3" fmla="*/ 0 w 7102388"/>
              <a:gd name="connsiteY3" fmla="*/ 6866467 h 6866467"/>
              <a:gd name="connsiteX4" fmla="*/ 7102388 w 7102388"/>
              <a:gd name="connsiteY4" fmla="*/ 6858002 h 6866467"/>
              <a:gd name="connsiteX0" fmla="*/ 6966921 w 6967305"/>
              <a:gd name="connsiteY0" fmla="*/ 6874935 h 6874935"/>
              <a:gd name="connsiteX1" fmla="*/ 6967305 w 6967305"/>
              <a:gd name="connsiteY1" fmla="*/ 0 h 6874935"/>
              <a:gd name="connsiteX2" fmla="*/ 2506512 w 6967305"/>
              <a:gd name="connsiteY2" fmla="*/ 8468 h 6874935"/>
              <a:gd name="connsiteX3" fmla="*/ 0 w 6967305"/>
              <a:gd name="connsiteY3" fmla="*/ 6866467 h 6874935"/>
              <a:gd name="connsiteX4" fmla="*/ 6966921 w 6967305"/>
              <a:gd name="connsiteY4" fmla="*/ 6874935 h 6874935"/>
              <a:gd name="connsiteX0" fmla="*/ 6983855 w 6983855"/>
              <a:gd name="connsiteY0" fmla="*/ 6968068 h 6968068"/>
              <a:gd name="connsiteX1" fmla="*/ 6967305 w 6983855"/>
              <a:gd name="connsiteY1" fmla="*/ 0 h 6968068"/>
              <a:gd name="connsiteX2" fmla="*/ 2506512 w 6983855"/>
              <a:gd name="connsiteY2" fmla="*/ 8468 h 6968068"/>
              <a:gd name="connsiteX3" fmla="*/ 0 w 6983855"/>
              <a:gd name="connsiteY3" fmla="*/ 6866467 h 6968068"/>
              <a:gd name="connsiteX4" fmla="*/ 6983855 w 6983855"/>
              <a:gd name="connsiteY4" fmla="*/ 6968068 h 6968068"/>
              <a:gd name="connsiteX0" fmla="*/ 6966921 w 6967305"/>
              <a:gd name="connsiteY0" fmla="*/ 6874934 h 6874934"/>
              <a:gd name="connsiteX1" fmla="*/ 6967305 w 6967305"/>
              <a:gd name="connsiteY1" fmla="*/ 0 h 6874934"/>
              <a:gd name="connsiteX2" fmla="*/ 2506512 w 6967305"/>
              <a:gd name="connsiteY2" fmla="*/ 8468 h 6874934"/>
              <a:gd name="connsiteX3" fmla="*/ 0 w 6967305"/>
              <a:gd name="connsiteY3" fmla="*/ 6866467 h 6874934"/>
              <a:gd name="connsiteX4" fmla="*/ 6966921 w 6967305"/>
              <a:gd name="connsiteY4" fmla="*/ 6874934 h 6874934"/>
              <a:gd name="connsiteX0" fmla="*/ 6966921 w 6966921"/>
              <a:gd name="connsiteY0" fmla="*/ 6866467 h 6866467"/>
              <a:gd name="connsiteX1" fmla="*/ 6120638 w 6966921"/>
              <a:gd name="connsiteY1" fmla="*/ 0 h 6866467"/>
              <a:gd name="connsiteX2" fmla="*/ 2506512 w 6966921"/>
              <a:gd name="connsiteY2" fmla="*/ 1 h 6866467"/>
              <a:gd name="connsiteX3" fmla="*/ 0 w 6966921"/>
              <a:gd name="connsiteY3" fmla="*/ 6858000 h 6866467"/>
              <a:gd name="connsiteX4" fmla="*/ 6966921 w 6966921"/>
              <a:gd name="connsiteY4" fmla="*/ 6866467 h 6866467"/>
              <a:gd name="connsiteX0" fmla="*/ 6120255 w 6120638"/>
              <a:gd name="connsiteY0" fmla="*/ 6858001 h 6858001"/>
              <a:gd name="connsiteX1" fmla="*/ 6120638 w 6120638"/>
              <a:gd name="connsiteY1" fmla="*/ 0 h 6858001"/>
              <a:gd name="connsiteX2" fmla="*/ 2506512 w 6120638"/>
              <a:gd name="connsiteY2" fmla="*/ 1 h 6858001"/>
              <a:gd name="connsiteX3" fmla="*/ 0 w 6120638"/>
              <a:gd name="connsiteY3" fmla="*/ 6858000 h 6858001"/>
              <a:gd name="connsiteX4" fmla="*/ 6120255 w 6120638"/>
              <a:gd name="connsiteY4" fmla="*/ 6858001 h 6858001"/>
              <a:gd name="connsiteX0" fmla="*/ 6120255 w 6120638"/>
              <a:gd name="connsiteY0" fmla="*/ 6858001 h 6858001"/>
              <a:gd name="connsiteX1" fmla="*/ 6120638 w 6120638"/>
              <a:gd name="connsiteY1" fmla="*/ 0 h 6858001"/>
              <a:gd name="connsiteX2" fmla="*/ 33475 w 6120638"/>
              <a:gd name="connsiteY2" fmla="*/ 41565 h 6858001"/>
              <a:gd name="connsiteX3" fmla="*/ 0 w 6120638"/>
              <a:gd name="connsiteY3" fmla="*/ 6858000 h 6858001"/>
              <a:gd name="connsiteX4" fmla="*/ 6120255 w 6120638"/>
              <a:gd name="connsiteY4" fmla="*/ 6858001 h 6858001"/>
              <a:gd name="connsiteX0" fmla="*/ 6086780 w 6087163"/>
              <a:gd name="connsiteY0" fmla="*/ 6858001 h 6868391"/>
              <a:gd name="connsiteX1" fmla="*/ 6087163 w 6087163"/>
              <a:gd name="connsiteY1" fmla="*/ 0 h 6868391"/>
              <a:gd name="connsiteX2" fmla="*/ 0 w 6087163"/>
              <a:gd name="connsiteY2" fmla="*/ 41565 h 6868391"/>
              <a:gd name="connsiteX3" fmla="*/ 195125 w 6087163"/>
              <a:gd name="connsiteY3" fmla="*/ 6868391 h 6868391"/>
              <a:gd name="connsiteX4" fmla="*/ 6086780 w 6087163"/>
              <a:gd name="connsiteY4" fmla="*/ 6858001 h 6868391"/>
              <a:gd name="connsiteX0" fmla="*/ 6086780 w 6087163"/>
              <a:gd name="connsiteY0" fmla="*/ 6858001 h 6868391"/>
              <a:gd name="connsiteX1" fmla="*/ 6087163 w 6087163"/>
              <a:gd name="connsiteY1" fmla="*/ 0 h 6868391"/>
              <a:gd name="connsiteX2" fmla="*/ 0 w 6087163"/>
              <a:gd name="connsiteY2" fmla="*/ 41565 h 6868391"/>
              <a:gd name="connsiteX3" fmla="*/ 8088 w 6087163"/>
              <a:gd name="connsiteY3" fmla="*/ 6868391 h 6868391"/>
              <a:gd name="connsiteX4" fmla="*/ 6086780 w 6087163"/>
              <a:gd name="connsiteY4" fmla="*/ 6858001 h 6868391"/>
              <a:gd name="connsiteX0" fmla="*/ 6086780 w 6087163"/>
              <a:gd name="connsiteY0" fmla="*/ 6858001 h 6868391"/>
              <a:gd name="connsiteX1" fmla="*/ 6087163 w 6087163"/>
              <a:gd name="connsiteY1" fmla="*/ 0 h 6868391"/>
              <a:gd name="connsiteX2" fmla="*/ 0 w 6087163"/>
              <a:gd name="connsiteY2" fmla="*/ 10392 h 6868391"/>
              <a:gd name="connsiteX3" fmla="*/ 8088 w 6087163"/>
              <a:gd name="connsiteY3" fmla="*/ 6868391 h 6868391"/>
              <a:gd name="connsiteX4" fmla="*/ 6086780 w 6087163"/>
              <a:gd name="connsiteY4" fmla="*/ 6858001 h 6868391"/>
              <a:gd name="connsiteX0" fmla="*/ 6086780 w 6087163"/>
              <a:gd name="connsiteY0" fmla="*/ 6858001 h 6868391"/>
              <a:gd name="connsiteX1" fmla="*/ 6087163 w 6087163"/>
              <a:gd name="connsiteY1" fmla="*/ 0 h 6868391"/>
              <a:gd name="connsiteX2" fmla="*/ 0 w 6087163"/>
              <a:gd name="connsiteY2" fmla="*/ 1 h 6868391"/>
              <a:gd name="connsiteX3" fmla="*/ 8088 w 6087163"/>
              <a:gd name="connsiteY3" fmla="*/ 6868391 h 6868391"/>
              <a:gd name="connsiteX4" fmla="*/ 6086780 w 6087163"/>
              <a:gd name="connsiteY4" fmla="*/ 6858001 h 68683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87163" h="6868391">
                <a:moveTo>
                  <a:pt x="6086780" y="6858001"/>
                </a:moveTo>
                <a:cubicBezTo>
                  <a:pt x="6086907" y="4569179"/>
                  <a:pt x="6087036" y="2288822"/>
                  <a:pt x="6087163" y="0"/>
                </a:cubicBezTo>
                <a:lnTo>
                  <a:pt x="0" y="1"/>
                </a:lnTo>
                <a:lnTo>
                  <a:pt x="8088" y="6868391"/>
                </a:lnTo>
                <a:lnTo>
                  <a:pt x="6086780" y="6858001"/>
                </a:lnTo>
                <a:close/>
              </a:path>
            </a:pathLst>
          </a:custGeom>
        </p:spPr>
        <p:txBody>
          <a:bodyPr rtlCol="0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ru-RU" noProof="0" dirty="0"/>
          </a:p>
        </p:txBody>
      </p:sp>
      <p:sp>
        <p:nvSpPr>
          <p:cNvPr id="20" name="Объект 2"/>
          <p:cNvSpPr>
            <a:spLocks noGrp="1"/>
          </p:cNvSpPr>
          <p:nvPr>
            <p:ph idx="17"/>
          </p:nvPr>
        </p:nvSpPr>
        <p:spPr>
          <a:xfrm>
            <a:off x="4575175" y="3429000"/>
            <a:ext cx="3430588" cy="119006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3" name="Объект 2"/>
          <p:cNvSpPr>
            <a:spLocks noGrp="1"/>
          </p:cNvSpPr>
          <p:nvPr>
            <p:ph idx="18"/>
          </p:nvPr>
        </p:nvSpPr>
        <p:spPr>
          <a:xfrm>
            <a:off x="8378826" y="3429000"/>
            <a:ext cx="3430588" cy="119006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5" name="Рисунок 8"/>
          <p:cNvSpPr>
            <a:spLocks noGrp="1"/>
          </p:cNvSpPr>
          <p:nvPr>
            <p:ph type="pic" sz="quarter" idx="19"/>
          </p:nvPr>
        </p:nvSpPr>
        <p:spPr>
          <a:xfrm>
            <a:off x="4572000" y="2282823"/>
            <a:ext cx="765175" cy="765177"/>
          </a:xfrm>
          <a:custGeom>
            <a:avLst/>
            <a:gdLst>
              <a:gd name="connsiteX0" fmla="*/ 0 w 6402324"/>
              <a:gd name="connsiteY0" fmla="*/ 6858000 h 6858000"/>
              <a:gd name="connsiteX1" fmla="*/ 1600581 w 6402324"/>
              <a:gd name="connsiteY1" fmla="*/ 0 h 6858000"/>
              <a:gd name="connsiteX2" fmla="*/ 6402324 w 6402324"/>
              <a:gd name="connsiteY2" fmla="*/ 0 h 6858000"/>
              <a:gd name="connsiteX3" fmla="*/ 4801743 w 6402324"/>
              <a:gd name="connsiteY3" fmla="*/ 6858000 h 6858000"/>
              <a:gd name="connsiteX4" fmla="*/ 0 w 6402324"/>
              <a:gd name="connsiteY4" fmla="*/ 6858000 h 6858000"/>
              <a:gd name="connsiteX0" fmla="*/ 0 w 6402324"/>
              <a:gd name="connsiteY0" fmla="*/ 6858000 h 6858000"/>
              <a:gd name="connsiteX1" fmla="*/ 381 w 6402324"/>
              <a:gd name="connsiteY1" fmla="*/ 0 h 6858000"/>
              <a:gd name="connsiteX2" fmla="*/ 6402324 w 6402324"/>
              <a:gd name="connsiteY2" fmla="*/ 0 h 6858000"/>
              <a:gd name="connsiteX3" fmla="*/ 4801743 w 6402324"/>
              <a:gd name="connsiteY3" fmla="*/ 6858000 h 6858000"/>
              <a:gd name="connsiteX4" fmla="*/ 0 w 6402324"/>
              <a:gd name="connsiteY4" fmla="*/ 6858000 h 6858000"/>
              <a:gd name="connsiteX0" fmla="*/ 0 w 8908457"/>
              <a:gd name="connsiteY0" fmla="*/ 6858000 h 6858000"/>
              <a:gd name="connsiteX1" fmla="*/ 381 w 8908457"/>
              <a:gd name="connsiteY1" fmla="*/ 0 h 6858000"/>
              <a:gd name="connsiteX2" fmla="*/ 8908457 w 8908457"/>
              <a:gd name="connsiteY2" fmla="*/ 0 h 6858000"/>
              <a:gd name="connsiteX3" fmla="*/ 4801743 w 8908457"/>
              <a:gd name="connsiteY3" fmla="*/ 6858000 h 6858000"/>
              <a:gd name="connsiteX4" fmla="*/ 0 w 8908457"/>
              <a:gd name="connsiteY4" fmla="*/ 6858000 h 6858000"/>
              <a:gd name="connsiteX0" fmla="*/ 0 w 8908457"/>
              <a:gd name="connsiteY0" fmla="*/ 6858000 h 6866467"/>
              <a:gd name="connsiteX1" fmla="*/ 381 w 8908457"/>
              <a:gd name="connsiteY1" fmla="*/ 0 h 6866467"/>
              <a:gd name="connsiteX2" fmla="*/ 8908457 w 8908457"/>
              <a:gd name="connsiteY2" fmla="*/ 0 h 6866467"/>
              <a:gd name="connsiteX3" fmla="*/ 6393476 w 8908457"/>
              <a:gd name="connsiteY3" fmla="*/ 6866467 h 6866467"/>
              <a:gd name="connsiteX4" fmla="*/ 0 w 8908457"/>
              <a:gd name="connsiteY4" fmla="*/ 6858000 h 6866467"/>
              <a:gd name="connsiteX0" fmla="*/ 0 w 8908457"/>
              <a:gd name="connsiteY0" fmla="*/ 6858000 h 6917267"/>
              <a:gd name="connsiteX1" fmla="*/ 381 w 8908457"/>
              <a:gd name="connsiteY1" fmla="*/ 0 h 6917267"/>
              <a:gd name="connsiteX2" fmla="*/ 8908457 w 8908457"/>
              <a:gd name="connsiteY2" fmla="*/ 0 h 6917267"/>
              <a:gd name="connsiteX3" fmla="*/ 6393476 w 8908457"/>
              <a:gd name="connsiteY3" fmla="*/ 6917267 h 6917267"/>
              <a:gd name="connsiteX4" fmla="*/ 0 w 8908457"/>
              <a:gd name="connsiteY4" fmla="*/ 6858000 h 6917267"/>
              <a:gd name="connsiteX0" fmla="*/ 0 w 8908457"/>
              <a:gd name="connsiteY0" fmla="*/ 6858000 h 6858000"/>
              <a:gd name="connsiteX1" fmla="*/ 381 w 8908457"/>
              <a:gd name="connsiteY1" fmla="*/ 0 h 6858000"/>
              <a:gd name="connsiteX2" fmla="*/ 8908457 w 8908457"/>
              <a:gd name="connsiteY2" fmla="*/ 0 h 6858000"/>
              <a:gd name="connsiteX3" fmla="*/ 6385010 w 8908457"/>
              <a:gd name="connsiteY3" fmla="*/ 6858000 h 6858000"/>
              <a:gd name="connsiteX4" fmla="*/ 0 w 8908457"/>
              <a:gd name="connsiteY4" fmla="*/ 6858000 h 6858000"/>
              <a:gd name="connsiteX0" fmla="*/ 0 w 8823790"/>
              <a:gd name="connsiteY0" fmla="*/ 6858000 h 6858000"/>
              <a:gd name="connsiteX1" fmla="*/ 381 w 8823790"/>
              <a:gd name="connsiteY1" fmla="*/ 0 h 6858000"/>
              <a:gd name="connsiteX2" fmla="*/ 8823790 w 8823790"/>
              <a:gd name="connsiteY2" fmla="*/ 8467 h 6858000"/>
              <a:gd name="connsiteX3" fmla="*/ 6385010 w 8823790"/>
              <a:gd name="connsiteY3" fmla="*/ 6858000 h 6858000"/>
              <a:gd name="connsiteX4" fmla="*/ 0 w 8823790"/>
              <a:gd name="connsiteY4" fmla="*/ 6858000 h 6858000"/>
              <a:gd name="connsiteX0" fmla="*/ 0 w 8874590"/>
              <a:gd name="connsiteY0" fmla="*/ 6858000 h 6858000"/>
              <a:gd name="connsiteX1" fmla="*/ 381 w 8874590"/>
              <a:gd name="connsiteY1" fmla="*/ 0 h 6858000"/>
              <a:gd name="connsiteX2" fmla="*/ 8874590 w 8874590"/>
              <a:gd name="connsiteY2" fmla="*/ 8467 h 6858000"/>
              <a:gd name="connsiteX3" fmla="*/ 6385010 w 8874590"/>
              <a:gd name="connsiteY3" fmla="*/ 6858000 h 6858000"/>
              <a:gd name="connsiteX4" fmla="*/ 0 w 8874590"/>
              <a:gd name="connsiteY4" fmla="*/ 6858000 h 6858000"/>
              <a:gd name="connsiteX0" fmla="*/ 0 w 8849190"/>
              <a:gd name="connsiteY0" fmla="*/ 6858000 h 6858000"/>
              <a:gd name="connsiteX1" fmla="*/ 381 w 8849190"/>
              <a:gd name="connsiteY1" fmla="*/ 0 h 6858000"/>
              <a:gd name="connsiteX2" fmla="*/ 8849190 w 8849190"/>
              <a:gd name="connsiteY2" fmla="*/ 16934 h 6858000"/>
              <a:gd name="connsiteX3" fmla="*/ 6385010 w 8849190"/>
              <a:gd name="connsiteY3" fmla="*/ 6858000 h 6858000"/>
              <a:gd name="connsiteX4" fmla="*/ 0 w 8849190"/>
              <a:gd name="connsiteY4" fmla="*/ 6858000 h 6858000"/>
              <a:gd name="connsiteX0" fmla="*/ 0 w 8586723"/>
              <a:gd name="connsiteY0" fmla="*/ 6858000 h 6858000"/>
              <a:gd name="connsiteX1" fmla="*/ 381 w 8586723"/>
              <a:gd name="connsiteY1" fmla="*/ 0 h 6858000"/>
              <a:gd name="connsiteX2" fmla="*/ 8586723 w 8586723"/>
              <a:gd name="connsiteY2" fmla="*/ 1 h 6858000"/>
              <a:gd name="connsiteX3" fmla="*/ 6385010 w 8586723"/>
              <a:gd name="connsiteY3" fmla="*/ 6858000 h 6858000"/>
              <a:gd name="connsiteX4" fmla="*/ 0 w 8586723"/>
              <a:gd name="connsiteY4" fmla="*/ 6858000 h 6858000"/>
              <a:gd name="connsiteX0" fmla="*/ 0 w 8874589"/>
              <a:gd name="connsiteY0" fmla="*/ 6858000 h 6858000"/>
              <a:gd name="connsiteX1" fmla="*/ 381 w 8874589"/>
              <a:gd name="connsiteY1" fmla="*/ 0 h 6858000"/>
              <a:gd name="connsiteX2" fmla="*/ 8874589 w 8874589"/>
              <a:gd name="connsiteY2" fmla="*/ 8468 h 6858000"/>
              <a:gd name="connsiteX3" fmla="*/ 6385010 w 8874589"/>
              <a:gd name="connsiteY3" fmla="*/ 6858000 h 6858000"/>
              <a:gd name="connsiteX4" fmla="*/ 0 w 8874589"/>
              <a:gd name="connsiteY4" fmla="*/ 6858000 h 6858000"/>
              <a:gd name="connsiteX0" fmla="*/ 0 w 8823789"/>
              <a:gd name="connsiteY0" fmla="*/ 6858000 h 6858000"/>
              <a:gd name="connsiteX1" fmla="*/ 381 w 8823789"/>
              <a:gd name="connsiteY1" fmla="*/ 0 h 6858000"/>
              <a:gd name="connsiteX2" fmla="*/ 8823789 w 8823789"/>
              <a:gd name="connsiteY2" fmla="*/ 16934 h 6858000"/>
              <a:gd name="connsiteX3" fmla="*/ 6385010 w 8823789"/>
              <a:gd name="connsiteY3" fmla="*/ 6858000 h 6858000"/>
              <a:gd name="connsiteX4" fmla="*/ 0 w 8823789"/>
              <a:gd name="connsiteY4" fmla="*/ 6858000 h 6858000"/>
              <a:gd name="connsiteX0" fmla="*/ 0 w 8883055"/>
              <a:gd name="connsiteY0" fmla="*/ 6858000 h 6858000"/>
              <a:gd name="connsiteX1" fmla="*/ 381 w 8883055"/>
              <a:gd name="connsiteY1" fmla="*/ 0 h 6858000"/>
              <a:gd name="connsiteX2" fmla="*/ 8883055 w 8883055"/>
              <a:gd name="connsiteY2" fmla="*/ 8467 h 6858000"/>
              <a:gd name="connsiteX3" fmla="*/ 6385010 w 8883055"/>
              <a:gd name="connsiteY3" fmla="*/ 6858000 h 6858000"/>
              <a:gd name="connsiteX4" fmla="*/ 0 w 8883055"/>
              <a:gd name="connsiteY4" fmla="*/ 6858000 h 6858000"/>
              <a:gd name="connsiteX0" fmla="*/ 0 w 8891522"/>
              <a:gd name="connsiteY0" fmla="*/ 6900333 h 6900333"/>
              <a:gd name="connsiteX1" fmla="*/ 381 w 8891522"/>
              <a:gd name="connsiteY1" fmla="*/ 42333 h 6900333"/>
              <a:gd name="connsiteX2" fmla="*/ 8891522 w 8891522"/>
              <a:gd name="connsiteY2" fmla="*/ 0 h 6900333"/>
              <a:gd name="connsiteX3" fmla="*/ 6385010 w 8891522"/>
              <a:gd name="connsiteY3" fmla="*/ 6900333 h 6900333"/>
              <a:gd name="connsiteX4" fmla="*/ 0 w 8891522"/>
              <a:gd name="connsiteY4" fmla="*/ 6900333 h 6900333"/>
              <a:gd name="connsiteX0" fmla="*/ 0 w 8891522"/>
              <a:gd name="connsiteY0" fmla="*/ 6858000 h 6858000"/>
              <a:gd name="connsiteX1" fmla="*/ 381 w 8891522"/>
              <a:gd name="connsiteY1" fmla="*/ 0 h 6858000"/>
              <a:gd name="connsiteX2" fmla="*/ 8891522 w 8891522"/>
              <a:gd name="connsiteY2" fmla="*/ 1 h 6858000"/>
              <a:gd name="connsiteX3" fmla="*/ 6385010 w 8891522"/>
              <a:gd name="connsiteY3" fmla="*/ 6858000 h 6858000"/>
              <a:gd name="connsiteX4" fmla="*/ 0 w 8891522"/>
              <a:gd name="connsiteY4" fmla="*/ 6858000 h 6858000"/>
              <a:gd name="connsiteX0" fmla="*/ 0 w 12200848"/>
              <a:gd name="connsiteY0" fmla="*/ 6858000 h 6858000"/>
              <a:gd name="connsiteX1" fmla="*/ 12200848 w 12200848"/>
              <a:gd name="connsiteY1" fmla="*/ 0 h 6858000"/>
              <a:gd name="connsiteX2" fmla="*/ 8891522 w 12200848"/>
              <a:gd name="connsiteY2" fmla="*/ 1 h 6858000"/>
              <a:gd name="connsiteX3" fmla="*/ 6385010 w 12200848"/>
              <a:gd name="connsiteY3" fmla="*/ 6858000 h 6858000"/>
              <a:gd name="connsiteX4" fmla="*/ 0 w 12200848"/>
              <a:gd name="connsiteY4" fmla="*/ 6858000 h 6858000"/>
              <a:gd name="connsiteX0" fmla="*/ 5823923 w 5823923"/>
              <a:gd name="connsiteY0" fmla="*/ 6858000 h 6858000"/>
              <a:gd name="connsiteX1" fmla="*/ 5815838 w 5823923"/>
              <a:gd name="connsiteY1" fmla="*/ 0 h 6858000"/>
              <a:gd name="connsiteX2" fmla="*/ 2506512 w 5823923"/>
              <a:gd name="connsiteY2" fmla="*/ 1 h 6858000"/>
              <a:gd name="connsiteX3" fmla="*/ 0 w 5823923"/>
              <a:gd name="connsiteY3" fmla="*/ 6858000 h 6858000"/>
              <a:gd name="connsiteX4" fmla="*/ 5823923 w 5823923"/>
              <a:gd name="connsiteY4" fmla="*/ 6858000 h 6858000"/>
              <a:gd name="connsiteX0" fmla="*/ 5900123 w 5900123"/>
              <a:gd name="connsiteY0" fmla="*/ 6874933 h 6874933"/>
              <a:gd name="connsiteX1" fmla="*/ 5815838 w 5900123"/>
              <a:gd name="connsiteY1" fmla="*/ 0 h 6874933"/>
              <a:gd name="connsiteX2" fmla="*/ 2506512 w 5900123"/>
              <a:gd name="connsiteY2" fmla="*/ 1 h 6874933"/>
              <a:gd name="connsiteX3" fmla="*/ 0 w 5900123"/>
              <a:gd name="connsiteY3" fmla="*/ 6858000 h 6874933"/>
              <a:gd name="connsiteX4" fmla="*/ 5900123 w 5900123"/>
              <a:gd name="connsiteY4" fmla="*/ 6874933 h 6874933"/>
              <a:gd name="connsiteX0" fmla="*/ 5815456 w 5815838"/>
              <a:gd name="connsiteY0" fmla="*/ 6866467 h 6866467"/>
              <a:gd name="connsiteX1" fmla="*/ 5815838 w 5815838"/>
              <a:gd name="connsiteY1" fmla="*/ 0 h 6866467"/>
              <a:gd name="connsiteX2" fmla="*/ 2506512 w 5815838"/>
              <a:gd name="connsiteY2" fmla="*/ 1 h 6866467"/>
              <a:gd name="connsiteX3" fmla="*/ 0 w 5815838"/>
              <a:gd name="connsiteY3" fmla="*/ 6858000 h 6866467"/>
              <a:gd name="connsiteX4" fmla="*/ 5815456 w 5815838"/>
              <a:gd name="connsiteY4" fmla="*/ 6866467 h 6866467"/>
              <a:gd name="connsiteX0" fmla="*/ 5815456 w 5815838"/>
              <a:gd name="connsiteY0" fmla="*/ 7001934 h 7001934"/>
              <a:gd name="connsiteX1" fmla="*/ 5815838 w 5815838"/>
              <a:gd name="connsiteY1" fmla="*/ 0 h 7001934"/>
              <a:gd name="connsiteX2" fmla="*/ 2506512 w 5815838"/>
              <a:gd name="connsiteY2" fmla="*/ 1 h 7001934"/>
              <a:gd name="connsiteX3" fmla="*/ 0 w 5815838"/>
              <a:gd name="connsiteY3" fmla="*/ 6858000 h 7001934"/>
              <a:gd name="connsiteX4" fmla="*/ 5815456 w 5815838"/>
              <a:gd name="connsiteY4" fmla="*/ 7001934 h 7001934"/>
              <a:gd name="connsiteX0" fmla="*/ 5823922 w 5823923"/>
              <a:gd name="connsiteY0" fmla="*/ 6858001 h 6858001"/>
              <a:gd name="connsiteX1" fmla="*/ 5815838 w 5823923"/>
              <a:gd name="connsiteY1" fmla="*/ 0 h 6858001"/>
              <a:gd name="connsiteX2" fmla="*/ 2506512 w 5823923"/>
              <a:gd name="connsiteY2" fmla="*/ 1 h 6858001"/>
              <a:gd name="connsiteX3" fmla="*/ 0 w 5823923"/>
              <a:gd name="connsiteY3" fmla="*/ 6858000 h 6858001"/>
              <a:gd name="connsiteX4" fmla="*/ 5823922 w 5823923"/>
              <a:gd name="connsiteY4" fmla="*/ 6858001 h 6858001"/>
              <a:gd name="connsiteX0" fmla="*/ 5942455 w 5942455"/>
              <a:gd name="connsiteY0" fmla="*/ 6866468 h 6866468"/>
              <a:gd name="connsiteX1" fmla="*/ 5815838 w 5942455"/>
              <a:gd name="connsiteY1" fmla="*/ 0 h 6866468"/>
              <a:gd name="connsiteX2" fmla="*/ 2506512 w 5942455"/>
              <a:gd name="connsiteY2" fmla="*/ 1 h 6866468"/>
              <a:gd name="connsiteX3" fmla="*/ 0 w 5942455"/>
              <a:gd name="connsiteY3" fmla="*/ 6858000 h 6866468"/>
              <a:gd name="connsiteX4" fmla="*/ 5942455 w 5942455"/>
              <a:gd name="connsiteY4" fmla="*/ 6866468 h 6866468"/>
              <a:gd name="connsiteX0" fmla="*/ 5806988 w 5815838"/>
              <a:gd name="connsiteY0" fmla="*/ 6874935 h 6874935"/>
              <a:gd name="connsiteX1" fmla="*/ 5815838 w 5815838"/>
              <a:gd name="connsiteY1" fmla="*/ 0 h 6874935"/>
              <a:gd name="connsiteX2" fmla="*/ 2506512 w 5815838"/>
              <a:gd name="connsiteY2" fmla="*/ 1 h 6874935"/>
              <a:gd name="connsiteX3" fmla="*/ 0 w 5815838"/>
              <a:gd name="connsiteY3" fmla="*/ 6858000 h 6874935"/>
              <a:gd name="connsiteX4" fmla="*/ 5806988 w 5815838"/>
              <a:gd name="connsiteY4" fmla="*/ 6874935 h 6874935"/>
              <a:gd name="connsiteX0" fmla="*/ 5806988 w 6958838"/>
              <a:gd name="connsiteY0" fmla="*/ 6874934 h 6874934"/>
              <a:gd name="connsiteX1" fmla="*/ 6958838 w 6958838"/>
              <a:gd name="connsiteY1" fmla="*/ 8466 h 6874934"/>
              <a:gd name="connsiteX2" fmla="*/ 2506512 w 6958838"/>
              <a:gd name="connsiteY2" fmla="*/ 0 h 6874934"/>
              <a:gd name="connsiteX3" fmla="*/ 0 w 6958838"/>
              <a:gd name="connsiteY3" fmla="*/ 6857999 h 6874934"/>
              <a:gd name="connsiteX4" fmla="*/ 5806988 w 6958838"/>
              <a:gd name="connsiteY4" fmla="*/ 6874934 h 6874934"/>
              <a:gd name="connsiteX0" fmla="*/ 6958455 w 6958838"/>
              <a:gd name="connsiteY0" fmla="*/ 6858001 h 6858001"/>
              <a:gd name="connsiteX1" fmla="*/ 6958838 w 6958838"/>
              <a:gd name="connsiteY1" fmla="*/ 8466 h 6858001"/>
              <a:gd name="connsiteX2" fmla="*/ 2506512 w 6958838"/>
              <a:gd name="connsiteY2" fmla="*/ 0 h 6858001"/>
              <a:gd name="connsiteX3" fmla="*/ 0 w 6958838"/>
              <a:gd name="connsiteY3" fmla="*/ 6857999 h 6858001"/>
              <a:gd name="connsiteX4" fmla="*/ 6958455 w 6958838"/>
              <a:gd name="connsiteY4" fmla="*/ 6858001 h 6858001"/>
              <a:gd name="connsiteX0" fmla="*/ 6958455 w 6967305"/>
              <a:gd name="connsiteY0" fmla="*/ 6858001 h 6858001"/>
              <a:gd name="connsiteX1" fmla="*/ 6967305 w 6967305"/>
              <a:gd name="connsiteY1" fmla="*/ 126999 h 6858001"/>
              <a:gd name="connsiteX2" fmla="*/ 2506512 w 6967305"/>
              <a:gd name="connsiteY2" fmla="*/ 0 h 6858001"/>
              <a:gd name="connsiteX3" fmla="*/ 0 w 6967305"/>
              <a:gd name="connsiteY3" fmla="*/ 6857999 h 6858001"/>
              <a:gd name="connsiteX4" fmla="*/ 6958455 w 6967305"/>
              <a:gd name="connsiteY4" fmla="*/ 6858001 h 6858001"/>
              <a:gd name="connsiteX0" fmla="*/ 6958455 w 6967305"/>
              <a:gd name="connsiteY0" fmla="*/ 6866469 h 6866469"/>
              <a:gd name="connsiteX1" fmla="*/ 6967305 w 6967305"/>
              <a:gd name="connsiteY1" fmla="*/ 0 h 6866469"/>
              <a:gd name="connsiteX2" fmla="*/ 2506512 w 6967305"/>
              <a:gd name="connsiteY2" fmla="*/ 8468 h 6866469"/>
              <a:gd name="connsiteX3" fmla="*/ 0 w 6967305"/>
              <a:gd name="connsiteY3" fmla="*/ 6866467 h 6866469"/>
              <a:gd name="connsiteX4" fmla="*/ 6958455 w 6967305"/>
              <a:gd name="connsiteY4" fmla="*/ 6866469 h 6866469"/>
              <a:gd name="connsiteX0" fmla="*/ 7102388 w 7102388"/>
              <a:gd name="connsiteY0" fmla="*/ 6858002 h 6866467"/>
              <a:gd name="connsiteX1" fmla="*/ 6967305 w 7102388"/>
              <a:gd name="connsiteY1" fmla="*/ 0 h 6866467"/>
              <a:gd name="connsiteX2" fmla="*/ 2506512 w 7102388"/>
              <a:gd name="connsiteY2" fmla="*/ 8468 h 6866467"/>
              <a:gd name="connsiteX3" fmla="*/ 0 w 7102388"/>
              <a:gd name="connsiteY3" fmla="*/ 6866467 h 6866467"/>
              <a:gd name="connsiteX4" fmla="*/ 7102388 w 7102388"/>
              <a:gd name="connsiteY4" fmla="*/ 6858002 h 6866467"/>
              <a:gd name="connsiteX0" fmla="*/ 6966921 w 6967305"/>
              <a:gd name="connsiteY0" fmla="*/ 6874935 h 6874935"/>
              <a:gd name="connsiteX1" fmla="*/ 6967305 w 6967305"/>
              <a:gd name="connsiteY1" fmla="*/ 0 h 6874935"/>
              <a:gd name="connsiteX2" fmla="*/ 2506512 w 6967305"/>
              <a:gd name="connsiteY2" fmla="*/ 8468 h 6874935"/>
              <a:gd name="connsiteX3" fmla="*/ 0 w 6967305"/>
              <a:gd name="connsiteY3" fmla="*/ 6866467 h 6874935"/>
              <a:gd name="connsiteX4" fmla="*/ 6966921 w 6967305"/>
              <a:gd name="connsiteY4" fmla="*/ 6874935 h 6874935"/>
              <a:gd name="connsiteX0" fmla="*/ 6983855 w 6983855"/>
              <a:gd name="connsiteY0" fmla="*/ 6968068 h 6968068"/>
              <a:gd name="connsiteX1" fmla="*/ 6967305 w 6983855"/>
              <a:gd name="connsiteY1" fmla="*/ 0 h 6968068"/>
              <a:gd name="connsiteX2" fmla="*/ 2506512 w 6983855"/>
              <a:gd name="connsiteY2" fmla="*/ 8468 h 6968068"/>
              <a:gd name="connsiteX3" fmla="*/ 0 w 6983855"/>
              <a:gd name="connsiteY3" fmla="*/ 6866467 h 6968068"/>
              <a:gd name="connsiteX4" fmla="*/ 6983855 w 6983855"/>
              <a:gd name="connsiteY4" fmla="*/ 6968068 h 6968068"/>
              <a:gd name="connsiteX0" fmla="*/ 6966921 w 6967305"/>
              <a:gd name="connsiteY0" fmla="*/ 6874934 h 6874934"/>
              <a:gd name="connsiteX1" fmla="*/ 6967305 w 6967305"/>
              <a:gd name="connsiteY1" fmla="*/ 0 h 6874934"/>
              <a:gd name="connsiteX2" fmla="*/ 2506512 w 6967305"/>
              <a:gd name="connsiteY2" fmla="*/ 8468 h 6874934"/>
              <a:gd name="connsiteX3" fmla="*/ 0 w 6967305"/>
              <a:gd name="connsiteY3" fmla="*/ 6866467 h 6874934"/>
              <a:gd name="connsiteX4" fmla="*/ 6966921 w 6967305"/>
              <a:gd name="connsiteY4" fmla="*/ 6874934 h 6874934"/>
              <a:gd name="connsiteX0" fmla="*/ 6966921 w 6966921"/>
              <a:gd name="connsiteY0" fmla="*/ 6866467 h 6866467"/>
              <a:gd name="connsiteX1" fmla="*/ 6120638 w 6966921"/>
              <a:gd name="connsiteY1" fmla="*/ 0 h 6866467"/>
              <a:gd name="connsiteX2" fmla="*/ 2506512 w 6966921"/>
              <a:gd name="connsiteY2" fmla="*/ 1 h 6866467"/>
              <a:gd name="connsiteX3" fmla="*/ 0 w 6966921"/>
              <a:gd name="connsiteY3" fmla="*/ 6858000 h 6866467"/>
              <a:gd name="connsiteX4" fmla="*/ 6966921 w 6966921"/>
              <a:gd name="connsiteY4" fmla="*/ 6866467 h 6866467"/>
              <a:gd name="connsiteX0" fmla="*/ 6120255 w 6120638"/>
              <a:gd name="connsiteY0" fmla="*/ 6858001 h 6858001"/>
              <a:gd name="connsiteX1" fmla="*/ 6120638 w 6120638"/>
              <a:gd name="connsiteY1" fmla="*/ 0 h 6858001"/>
              <a:gd name="connsiteX2" fmla="*/ 2506512 w 6120638"/>
              <a:gd name="connsiteY2" fmla="*/ 1 h 6858001"/>
              <a:gd name="connsiteX3" fmla="*/ 0 w 6120638"/>
              <a:gd name="connsiteY3" fmla="*/ 6858000 h 6858001"/>
              <a:gd name="connsiteX4" fmla="*/ 6120255 w 6120638"/>
              <a:gd name="connsiteY4" fmla="*/ 6858001 h 6858001"/>
              <a:gd name="connsiteX0" fmla="*/ 6120255 w 6120638"/>
              <a:gd name="connsiteY0" fmla="*/ 6858001 h 6858001"/>
              <a:gd name="connsiteX1" fmla="*/ 6120638 w 6120638"/>
              <a:gd name="connsiteY1" fmla="*/ 0 h 6858001"/>
              <a:gd name="connsiteX2" fmla="*/ 33475 w 6120638"/>
              <a:gd name="connsiteY2" fmla="*/ 41565 h 6858001"/>
              <a:gd name="connsiteX3" fmla="*/ 0 w 6120638"/>
              <a:gd name="connsiteY3" fmla="*/ 6858000 h 6858001"/>
              <a:gd name="connsiteX4" fmla="*/ 6120255 w 6120638"/>
              <a:gd name="connsiteY4" fmla="*/ 6858001 h 6858001"/>
              <a:gd name="connsiteX0" fmla="*/ 6086780 w 6087163"/>
              <a:gd name="connsiteY0" fmla="*/ 6858001 h 6868391"/>
              <a:gd name="connsiteX1" fmla="*/ 6087163 w 6087163"/>
              <a:gd name="connsiteY1" fmla="*/ 0 h 6868391"/>
              <a:gd name="connsiteX2" fmla="*/ 0 w 6087163"/>
              <a:gd name="connsiteY2" fmla="*/ 41565 h 6868391"/>
              <a:gd name="connsiteX3" fmla="*/ 195125 w 6087163"/>
              <a:gd name="connsiteY3" fmla="*/ 6868391 h 6868391"/>
              <a:gd name="connsiteX4" fmla="*/ 6086780 w 6087163"/>
              <a:gd name="connsiteY4" fmla="*/ 6858001 h 6868391"/>
              <a:gd name="connsiteX0" fmla="*/ 6086780 w 6087163"/>
              <a:gd name="connsiteY0" fmla="*/ 6858001 h 6868391"/>
              <a:gd name="connsiteX1" fmla="*/ 6087163 w 6087163"/>
              <a:gd name="connsiteY1" fmla="*/ 0 h 6868391"/>
              <a:gd name="connsiteX2" fmla="*/ 0 w 6087163"/>
              <a:gd name="connsiteY2" fmla="*/ 41565 h 6868391"/>
              <a:gd name="connsiteX3" fmla="*/ 8088 w 6087163"/>
              <a:gd name="connsiteY3" fmla="*/ 6868391 h 6868391"/>
              <a:gd name="connsiteX4" fmla="*/ 6086780 w 6087163"/>
              <a:gd name="connsiteY4" fmla="*/ 6858001 h 6868391"/>
              <a:gd name="connsiteX0" fmla="*/ 6086780 w 6087163"/>
              <a:gd name="connsiteY0" fmla="*/ 6858001 h 6868391"/>
              <a:gd name="connsiteX1" fmla="*/ 6087163 w 6087163"/>
              <a:gd name="connsiteY1" fmla="*/ 0 h 6868391"/>
              <a:gd name="connsiteX2" fmla="*/ 0 w 6087163"/>
              <a:gd name="connsiteY2" fmla="*/ 10392 h 6868391"/>
              <a:gd name="connsiteX3" fmla="*/ 8088 w 6087163"/>
              <a:gd name="connsiteY3" fmla="*/ 6868391 h 6868391"/>
              <a:gd name="connsiteX4" fmla="*/ 6086780 w 6087163"/>
              <a:gd name="connsiteY4" fmla="*/ 6858001 h 6868391"/>
              <a:gd name="connsiteX0" fmla="*/ 6086780 w 6087163"/>
              <a:gd name="connsiteY0" fmla="*/ 6858001 h 6868391"/>
              <a:gd name="connsiteX1" fmla="*/ 6087163 w 6087163"/>
              <a:gd name="connsiteY1" fmla="*/ 0 h 6868391"/>
              <a:gd name="connsiteX2" fmla="*/ 0 w 6087163"/>
              <a:gd name="connsiteY2" fmla="*/ 1 h 6868391"/>
              <a:gd name="connsiteX3" fmla="*/ 8088 w 6087163"/>
              <a:gd name="connsiteY3" fmla="*/ 6868391 h 6868391"/>
              <a:gd name="connsiteX4" fmla="*/ 6086780 w 6087163"/>
              <a:gd name="connsiteY4" fmla="*/ 6858001 h 68683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87163" h="6868391">
                <a:moveTo>
                  <a:pt x="6086780" y="6858001"/>
                </a:moveTo>
                <a:cubicBezTo>
                  <a:pt x="6086907" y="4569179"/>
                  <a:pt x="6087036" y="2288822"/>
                  <a:pt x="6087163" y="0"/>
                </a:cubicBezTo>
                <a:lnTo>
                  <a:pt x="0" y="1"/>
                </a:lnTo>
                <a:lnTo>
                  <a:pt x="8088" y="6868391"/>
                </a:lnTo>
                <a:lnTo>
                  <a:pt x="6086780" y="6858001"/>
                </a:lnTo>
                <a:close/>
              </a:path>
            </a:pathLst>
          </a:custGeom>
        </p:spPr>
        <p:txBody>
          <a:bodyPr rtlCol="0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ru-RU" noProof="0" dirty="0"/>
          </a:p>
        </p:txBody>
      </p:sp>
      <p:sp>
        <p:nvSpPr>
          <p:cNvPr id="28" name="Рисунок 8"/>
          <p:cNvSpPr>
            <a:spLocks noGrp="1"/>
          </p:cNvSpPr>
          <p:nvPr>
            <p:ph type="pic" sz="quarter" idx="20"/>
          </p:nvPr>
        </p:nvSpPr>
        <p:spPr>
          <a:xfrm>
            <a:off x="8378826" y="2282823"/>
            <a:ext cx="765175" cy="765177"/>
          </a:xfrm>
          <a:custGeom>
            <a:avLst/>
            <a:gdLst>
              <a:gd name="connsiteX0" fmla="*/ 0 w 6402324"/>
              <a:gd name="connsiteY0" fmla="*/ 6858000 h 6858000"/>
              <a:gd name="connsiteX1" fmla="*/ 1600581 w 6402324"/>
              <a:gd name="connsiteY1" fmla="*/ 0 h 6858000"/>
              <a:gd name="connsiteX2" fmla="*/ 6402324 w 6402324"/>
              <a:gd name="connsiteY2" fmla="*/ 0 h 6858000"/>
              <a:gd name="connsiteX3" fmla="*/ 4801743 w 6402324"/>
              <a:gd name="connsiteY3" fmla="*/ 6858000 h 6858000"/>
              <a:gd name="connsiteX4" fmla="*/ 0 w 6402324"/>
              <a:gd name="connsiteY4" fmla="*/ 6858000 h 6858000"/>
              <a:gd name="connsiteX0" fmla="*/ 0 w 6402324"/>
              <a:gd name="connsiteY0" fmla="*/ 6858000 h 6858000"/>
              <a:gd name="connsiteX1" fmla="*/ 381 w 6402324"/>
              <a:gd name="connsiteY1" fmla="*/ 0 h 6858000"/>
              <a:gd name="connsiteX2" fmla="*/ 6402324 w 6402324"/>
              <a:gd name="connsiteY2" fmla="*/ 0 h 6858000"/>
              <a:gd name="connsiteX3" fmla="*/ 4801743 w 6402324"/>
              <a:gd name="connsiteY3" fmla="*/ 6858000 h 6858000"/>
              <a:gd name="connsiteX4" fmla="*/ 0 w 6402324"/>
              <a:gd name="connsiteY4" fmla="*/ 6858000 h 6858000"/>
              <a:gd name="connsiteX0" fmla="*/ 0 w 8908457"/>
              <a:gd name="connsiteY0" fmla="*/ 6858000 h 6858000"/>
              <a:gd name="connsiteX1" fmla="*/ 381 w 8908457"/>
              <a:gd name="connsiteY1" fmla="*/ 0 h 6858000"/>
              <a:gd name="connsiteX2" fmla="*/ 8908457 w 8908457"/>
              <a:gd name="connsiteY2" fmla="*/ 0 h 6858000"/>
              <a:gd name="connsiteX3" fmla="*/ 4801743 w 8908457"/>
              <a:gd name="connsiteY3" fmla="*/ 6858000 h 6858000"/>
              <a:gd name="connsiteX4" fmla="*/ 0 w 8908457"/>
              <a:gd name="connsiteY4" fmla="*/ 6858000 h 6858000"/>
              <a:gd name="connsiteX0" fmla="*/ 0 w 8908457"/>
              <a:gd name="connsiteY0" fmla="*/ 6858000 h 6866467"/>
              <a:gd name="connsiteX1" fmla="*/ 381 w 8908457"/>
              <a:gd name="connsiteY1" fmla="*/ 0 h 6866467"/>
              <a:gd name="connsiteX2" fmla="*/ 8908457 w 8908457"/>
              <a:gd name="connsiteY2" fmla="*/ 0 h 6866467"/>
              <a:gd name="connsiteX3" fmla="*/ 6393476 w 8908457"/>
              <a:gd name="connsiteY3" fmla="*/ 6866467 h 6866467"/>
              <a:gd name="connsiteX4" fmla="*/ 0 w 8908457"/>
              <a:gd name="connsiteY4" fmla="*/ 6858000 h 6866467"/>
              <a:gd name="connsiteX0" fmla="*/ 0 w 8908457"/>
              <a:gd name="connsiteY0" fmla="*/ 6858000 h 6917267"/>
              <a:gd name="connsiteX1" fmla="*/ 381 w 8908457"/>
              <a:gd name="connsiteY1" fmla="*/ 0 h 6917267"/>
              <a:gd name="connsiteX2" fmla="*/ 8908457 w 8908457"/>
              <a:gd name="connsiteY2" fmla="*/ 0 h 6917267"/>
              <a:gd name="connsiteX3" fmla="*/ 6393476 w 8908457"/>
              <a:gd name="connsiteY3" fmla="*/ 6917267 h 6917267"/>
              <a:gd name="connsiteX4" fmla="*/ 0 w 8908457"/>
              <a:gd name="connsiteY4" fmla="*/ 6858000 h 6917267"/>
              <a:gd name="connsiteX0" fmla="*/ 0 w 8908457"/>
              <a:gd name="connsiteY0" fmla="*/ 6858000 h 6858000"/>
              <a:gd name="connsiteX1" fmla="*/ 381 w 8908457"/>
              <a:gd name="connsiteY1" fmla="*/ 0 h 6858000"/>
              <a:gd name="connsiteX2" fmla="*/ 8908457 w 8908457"/>
              <a:gd name="connsiteY2" fmla="*/ 0 h 6858000"/>
              <a:gd name="connsiteX3" fmla="*/ 6385010 w 8908457"/>
              <a:gd name="connsiteY3" fmla="*/ 6858000 h 6858000"/>
              <a:gd name="connsiteX4" fmla="*/ 0 w 8908457"/>
              <a:gd name="connsiteY4" fmla="*/ 6858000 h 6858000"/>
              <a:gd name="connsiteX0" fmla="*/ 0 w 8823790"/>
              <a:gd name="connsiteY0" fmla="*/ 6858000 h 6858000"/>
              <a:gd name="connsiteX1" fmla="*/ 381 w 8823790"/>
              <a:gd name="connsiteY1" fmla="*/ 0 h 6858000"/>
              <a:gd name="connsiteX2" fmla="*/ 8823790 w 8823790"/>
              <a:gd name="connsiteY2" fmla="*/ 8467 h 6858000"/>
              <a:gd name="connsiteX3" fmla="*/ 6385010 w 8823790"/>
              <a:gd name="connsiteY3" fmla="*/ 6858000 h 6858000"/>
              <a:gd name="connsiteX4" fmla="*/ 0 w 8823790"/>
              <a:gd name="connsiteY4" fmla="*/ 6858000 h 6858000"/>
              <a:gd name="connsiteX0" fmla="*/ 0 w 8874590"/>
              <a:gd name="connsiteY0" fmla="*/ 6858000 h 6858000"/>
              <a:gd name="connsiteX1" fmla="*/ 381 w 8874590"/>
              <a:gd name="connsiteY1" fmla="*/ 0 h 6858000"/>
              <a:gd name="connsiteX2" fmla="*/ 8874590 w 8874590"/>
              <a:gd name="connsiteY2" fmla="*/ 8467 h 6858000"/>
              <a:gd name="connsiteX3" fmla="*/ 6385010 w 8874590"/>
              <a:gd name="connsiteY3" fmla="*/ 6858000 h 6858000"/>
              <a:gd name="connsiteX4" fmla="*/ 0 w 8874590"/>
              <a:gd name="connsiteY4" fmla="*/ 6858000 h 6858000"/>
              <a:gd name="connsiteX0" fmla="*/ 0 w 8849190"/>
              <a:gd name="connsiteY0" fmla="*/ 6858000 h 6858000"/>
              <a:gd name="connsiteX1" fmla="*/ 381 w 8849190"/>
              <a:gd name="connsiteY1" fmla="*/ 0 h 6858000"/>
              <a:gd name="connsiteX2" fmla="*/ 8849190 w 8849190"/>
              <a:gd name="connsiteY2" fmla="*/ 16934 h 6858000"/>
              <a:gd name="connsiteX3" fmla="*/ 6385010 w 8849190"/>
              <a:gd name="connsiteY3" fmla="*/ 6858000 h 6858000"/>
              <a:gd name="connsiteX4" fmla="*/ 0 w 8849190"/>
              <a:gd name="connsiteY4" fmla="*/ 6858000 h 6858000"/>
              <a:gd name="connsiteX0" fmla="*/ 0 w 8586723"/>
              <a:gd name="connsiteY0" fmla="*/ 6858000 h 6858000"/>
              <a:gd name="connsiteX1" fmla="*/ 381 w 8586723"/>
              <a:gd name="connsiteY1" fmla="*/ 0 h 6858000"/>
              <a:gd name="connsiteX2" fmla="*/ 8586723 w 8586723"/>
              <a:gd name="connsiteY2" fmla="*/ 1 h 6858000"/>
              <a:gd name="connsiteX3" fmla="*/ 6385010 w 8586723"/>
              <a:gd name="connsiteY3" fmla="*/ 6858000 h 6858000"/>
              <a:gd name="connsiteX4" fmla="*/ 0 w 8586723"/>
              <a:gd name="connsiteY4" fmla="*/ 6858000 h 6858000"/>
              <a:gd name="connsiteX0" fmla="*/ 0 w 8874589"/>
              <a:gd name="connsiteY0" fmla="*/ 6858000 h 6858000"/>
              <a:gd name="connsiteX1" fmla="*/ 381 w 8874589"/>
              <a:gd name="connsiteY1" fmla="*/ 0 h 6858000"/>
              <a:gd name="connsiteX2" fmla="*/ 8874589 w 8874589"/>
              <a:gd name="connsiteY2" fmla="*/ 8468 h 6858000"/>
              <a:gd name="connsiteX3" fmla="*/ 6385010 w 8874589"/>
              <a:gd name="connsiteY3" fmla="*/ 6858000 h 6858000"/>
              <a:gd name="connsiteX4" fmla="*/ 0 w 8874589"/>
              <a:gd name="connsiteY4" fmla="*/ 6858000 h 6858000"/>
              <a:gd name="connsiteX0" fmla="*/ 0 w 8823789"/>
              <a:gd name="connsiteY0" fmla="*/ 6858000 h 6858000"/>
              <a:gd name="connsiteX1" fmla="*/ 381 w 8823789"/>
              <a:gd name="connsiteY1" fmla="*/ 0 h 6858000"/>
              <a:gd name="connsiteX2" fmla="*/ 8823789 w 8823789"/>
              <a:gd name="connsiteY2" fmla="*/ 16934 h 6858000"/>
              <a:gd name="connsiteX3" fmla="*/ 6385010 w 8823789"/>
              <a:gd name="connsiteY3" fmla="*/ 6858000 h 6858000"/>
              <a:gd name="connsiteX4" fmla="*/ 0 w 8823789"/>
              <a:gd name="connsiteY4" fmla="*/ 6858000 h 6858000"/>
              <a:gd name="connsiteX0" fmla="*/ 0 w 8883055"/>
              <a:gd name="connsiteY0" fmla="*/ 6858000 h 6858000"/>
              <a:gd name="connsiteX1" fmla="*/ 381 w 8883055"/>
              <a:gd name="connsiteY1" fmla="*/ 0 h 6858000"/>
              <a:gd name="connsiteX2" fmla="*/ 8883055 w 8883055"/>
              <a:gd name="connsiteY2" fmla="*/ 8467 h 6858000"/>
              <a:gd name="connsiteX3" fmla="*/ 6385010 w 8883055"/>
              <a:gd name="connsiteY3" fmla="*/ 6858000 h 6858000"/>
              <a:gd name="connsiteX4" fmla="*/ 0 w 8883055"/>
              <a:gd name="connsiteY4" fmla="*/ 6858000 h 6858000"/>
              <a:gd name="connsiteX0" fmla="*/ 0 w 8891522"/>
              <a:gd name="connsiteY0" fmla="*/ 6900333 h 6900333"/>
              <a:gd name="connsiteX1" fmla="*/ 381 w 8891522"/>
              <a:gd name="connsiteY1" fmla="*/ 42333 h 6900333"/>
              <a:gd name="connsiteX2" fmla="*/ 8891522 w 8891522"/>
              <a:gd name="connsiteY2" fmla="*/ 0 h 6900333"/>
              <a:gd name="connsiteX3" fmla="*/ 6385010 w 8891522"/>
              <a:gd name="connsiteY3" fmla="*/ 6900333 h 6900333"/>
              <a:gd name="connsiteX4" fmla="*/ 0 w 8891522"/>
              <a:gd name="connsiteY4" fmla="*/ 6900333 h 6900333"/>
              <a:gd name="connsiteX0" fmla="*/ 0 w 8891522"/>
              <a:gd name="connsiteY0" fmla="*/ 6858000 h 6858000"/>
              <a:gd name="connsiteX1" fmla="*/ 381 w 8891522"/>
              <a:gd name="connsiteY1" fmla="*/ 0 h 6858000"/>
              <a:gd name="connsiteX2" fmla="*/ 8891522 w 8891522"/>
              <a:gd name="connsiteY2" fmla="*/ 1 h 6858000"/>
              <a:gd name="connsiteX3" fmla="*/ 6385010 w 8891522"/>
              <a:gd name="connsiteY3" fmla="*/ 6858000 h 6858000"/>
              <a:gd name="connsiteX4" fmla="*/ 0 w 8891522"/>
              <a:gd name="connsiteY4" fmla="*/ 6858000 h 6858000"/>
              <a:gd name="connsiteX0" fmla="*/ 0 w 12200848"/>
              <a:gd name="connsiteY0" fmla="*/ 6858000 h 6858000"/>
              <a:gd name="connsiteX1" fmla="*/ 12200848 w 12200848"/>
              <a:gd name="connsiteY1" fmla="*/ 0 h 6858000"/>
              <a:gd name="connsiteX2" fmla="*/ 8891522 w 12200848"/>
              <a:gd name="connsiteY2" fmla="*/ 1 h 6858000"/>
              <a:gd name="connsiteX3" fmla="*/ 6385010 w 12200848"/>
              <a:gd name="connsiteY3" fmla="*/ 6858000 h 6858000"/>
              <a:gd name="connsiteX4" fmla="*/ 0 w 12200848"/>
              <a:gd name="connsiteY4" fmla="*/ 6858000 h 6858000"/>
              <a:gd name="connsiteX0" fmla="*/ 5823923 w 5823923"/>
              <a:gd name="connsiteY0" fmla="*/ 6858000 h 6858000"/>
              <a:gd name="connsiteX1" fmla="*/ 5815838 w 5823923"/>
              <a:gd name="connsiteY1" fmla="*/ 0 h 6858000"/>
              <a:gd name="connsiteX2" fmla="*/ 2506512 w 5823923"/>
              <a:gd name="connsiteY2" fmla="*/ 1 h 6858000"/>
              <a:gd name="connsiteX3" fmla="*/ 0 w 5823923"/>
              <a:gd name="connsiteY3" fmla="*/ 6858000 h 6858000"/>
              <a:gd name="connsiteX4" fmla="*/ 5823923 w 5823923"/>
              <a:gd name="connsiteY4" fmla="*/ 6858000 h 6858000"/>
              <a:gd name="connsiteX0" fmla="*/ 5900123 w 5900123"/>
              <a:gd name="connsiteY0" fmla="*/ 6874933 h 6874933"/>
              <a:gd name="connsiteX1" fmla="*/ 5815838 w 5900123"/>
              <a:gd name="connsiteY1" fmla="*/ 0 h 6874933"/>
              <a:gd name="connsiteX2" fmla="*/ 2506512 w 5900123"/>
              <a:gd name="connsiteY2" fmla="*/ 1 h 6874933"/>
              <a:gd name="connsiteX3" fmla="*/ 0 w 5900123"/>
              <a:gd name="connsiteY3" fmla="*/ 6858000 h 6874933"/>
              <a:gd name="connsiteX4" fmla="*/ 5900123 w 5900123"/>
              <a:gd name="connsiteY4" fmla="*/ 6874933 h 6874933"/>
              <a:gd name="connsiteX0" fmla="*/ 5815456 w 5815838"/>
              <a:gd name="connsiteY0" fmla="*/ 6866467 h 6866467"/>
              <a:gd name="connsiteX1" fmla="*/ 5815838 w 5815838"/>
              <a:gd name="connsiteY1" fmla="*/ 0 h 6866467"/>
              <a:gd name="connsiteX2" fmla="*/ 2506512 w 5815838"/>
              <a:gd name="connsiteY2" fmla="*/ 1 h 6866467"/>
              <a:gd name="connsiteX3" fmla="*/ 0 w 5815838"/>
              <a:gd name="connsiteY3" fmla="*/ 6858000 h 6866467"/>
              <a:gd name="connsiteX4" fmla="*/ 5815456 w 5815838"/>
              <a:gd name="connsiteY4" fmla="*/ 6866467 h 6866467"/>
              <a:gd name="connsiteX0" fmla="*/ 5815456 w 5815838"/>
              <a:gd name="connsiteY0" fmla="*/ 7001934 h 7001934"/>
              <a:gd name="connsiteX1" fmla="*/ 5815838 w 5815838"/>
              <a:gd name="connsiteY1" fmla="*/ 0 h 7001934"/>
              <a:gd name="connsiteX2" fmla="*/ 2506512 w 5815838"/>
              <a:gd name="connsiteY2" fmla="*/ 1 h 7001934"/>
              <a:gd name="connsiteX3" fmla="*/ 0 w 5815838"/>
              <a:gd name="connsiteY3" fmla="*/ 6858000 h 7001934"/>
              <a:gd name="connsiteX4" fmla="*/ 5815456 w 5815838"/>
              <a:gd name="connsiteY4" fmla="*/ 7001934 h 7001934"/>
              <a:gd name="connsiteX0" fmla="*/ 5823922 w 5823923"/>
              <a:gd name="connsiteY0" fmla="*/ 6858001 h 6858001"/>
              <a:gd name="connsiteX1" fmla="*/ 5815838 w 5823923"/>
              <a:gd name="connsiteY1" fmla="*/ 0 h 6858001"/>
              <a:gd name="connsiteX2" fmla="*/ 2506512 w 5823923"/>
              <a:gd name="connsiteY2" fmla="*/ 1 h 6858001"/>
              <a:gd name="connsiteX3" fmla="*/ 0 w 5823923"/>
              <a:gd name="connsiteY3" fmla="*/ 6858000 h 6858001"/>
              <a:gd name="connsiteX4" fmla="*/ 5823922 w 5823923"/>
              <a:gd name="connsiteY4" fmla="*/ 6858001 h 6858001"/>
              <a:gd name="connsiteX0" fmla="*/ 5942455 w 5942455"/>
              <a:gd name="connsiteY0" fmla="*/ 6866468 h 6866468"/>
              <a:gd name="connsiteX1" fmla="*/ 5815838 w 5942455"/>
              <a:gd name="connsiteY1" fmla="*/ 0 h 6866468"/>
              <a:gd name="connsiteX2" fmla="*/ 2506512 w 5942455"/>
              <a:gd name="connsiteY2" fmla="*/ 1 h 6866468"/>
              <a:gd name="connsiteX3" fmla="*/ 0 w 5942455"/>
              <a:gd name="connsiteY3" fmla="*/ 6858000 h 6866468"/>
              <a:gd name="connsiteX4" fmla="*/ 5942455 w 5942455"/>
              <a:gd name="connsiteY4" fmla="*/ 6866468 h 6866468"/>
              <a:gd name="connsiteX0" fmla="*/ 5806988 w 5815838"/>
              <a:gd name="connsiteY0" fmla="*/ 6874935 h 6874935"/>
              <a:gd name="connsiteX1" fmla="*/ 5815838 w 5815838"/>
              <a:gd name="connsiteY1" fmla="*/ 0 h 6874935"/>
              <a:gd name="connsiteX2" fmla="*/ 2506512 w 5815838"/>
              <a:gd name="connsiteY2" fmla="*/ 1 h 6874935"/>
              <a:gd name="connsiteX3" fmla="*/ 0 w 5815838"/>
              <a:gd name="connsiteY3" fmla="*/ 6858000 h 6874935"/>
              <a:gd name="connsiteX4" fmla="*/ 5806988 w 5815838"/>
              <a:gd name="connsiteY4" fmla="*/ 6874935 h 6874935"/>
              <a:gd name="connsiteX0" fmla="*/ 5806988 w 6958838"/>
              <a:gd name="connsiteY0" fmla="*/ 6874934 h 6874934"/>
              <a:gd name="connsiteX1" fmla="*/ 6958838 w 6958838"/>
              <a:gd name="connsiteY1" fmla="*/ 8466 h 6874934"/>
              <a:gd name="connsiteX2" fmla="*/ 2506512 w 6958838"/>
              <a:gd name="connsiteY2" fmla="*/ 0 h 6874934"/>
              <a:gd name="connsiteX3" fmla="*/ 0 w 6958838"/>
              <a:gd name="connsiteY3" fmla="*/ 6857999 h 6874934"/>
              <a:gd name="connsiteX4" fmla="*/ 5806988 w 6958838"/>
              <a:gd name="connsiteY4" fmla="*/ 6874934 h 6874934"/>
              <a:gd name="connsiteX0" fmla="*/ 6958455 w 6958838"/>
              <a:gd name="connsiteY0" fmla="*/ 6858001 h 6858001"/>
              <a:gd name="connsiteX1" fmla="*/ 6958838 w 6958838"/>
              <a:gd name="connsiteY1" fmla="*/ 8466 h 6858001"/>
              <a:gd name="connsiteX2" fmla="*/ 2506512 w 6958838"/>
              <a:gd name="connsiteY2" fmla="*/ 0 h 6858001"/>
              <a:gd name="connsiteX3" fmla="*/ 0 w 6958838"/>
              <a:gd name="connsiteY3" fmla="*/ 6857999 h 6858001"/>
              <a:gd name="connsiteX4" fmla="*/ 6958455 w 6958838"/>
              <a:gd name="connsiteY4" fmla="*/ 6858001 h 6858001"/>
              <a:gd name="connsiteX0" fmla="*/ 6958455 w 6967305"/>
              <a:gd name="connsiteY0" fmla="*/ 6858001 h 6858001"/>
              <a:gd name="connsiteX1" fmla="*/ 6967305 w 6967305"/>
              <a:gd name="connsiteY1" fmla="*/ 126999 h 6858001"/>
              <a:gd name="connsiteX2" fmla="*/ 2506512 w 6967305"/>
              <a:gd name="connsiteY2" fmla="*/ 0 h 6858001"/>
              <a:gd name="connsiteX3" fmla="*/ 0 w 6967305"/>
              <a:gd name="connsiteY3" fmla="*/ 6857999 h 6858001"/>
              <a:gd name="connsiteX4" fmla="*/ 6958455 w 6967305"/>
              <a:gd name="connsiteY4" fmla="*/ 6858001 h 6858001"/>
              <a:gd name="connsiteX0" fmla="*/ 6958455 w 6967305"/>
              <a:gd name="connsiteY0" fmla="*/ 6866469 h 6866469"/>
              <a:gd name="connsiteX1" fmla="*/ 6967305 w 6967305"/>
              <a:gd name="connsiteY1" fmla="*/ 0 h 6866469"/>
              <a:gd name="connsiteX2" fmla="*/ 2506512 w 6967305"/>
              <a:gd name="connsiteY2" fmla="*/ 8468 h 6866469"/>
              <a:gd name="connsiteX3" fmla="*/ 0 w 6967305"/>
              <a:gd name="connsiteY3" fmla="*/ 6866467 h 6866469"/>
              <a:gd name="connsiteX4" fmla="*/ 6958455 w 6967305"/>
              <a:gd name="connsiteY4" fmla="*/ 6866469 h 6866469"/>
              <a:gd name="connsiteX0" fmla="*/ 7102388 w 7102388"/>
              <a:gd name="connsiteY0" fmla="*/ 6858002 h 6866467"/>
              <a:gd name="connsiteX1" fmla="*/ 6967305 w 7102388"/>
              <a:gd name="connsiteY1" fmla="*/ 0 h 6866467"/>
              <a:gd name="connsiteX2" fmla="*/ 2506512 w 7102388"/>
              <a:gd name="connsiteY2" fmla="*/ 8468 h 6866467"/>
              <a:gd name="connsiteX3" fmla="*/ 0 w 7102388"/>
              <a:gd name="connsiteY3" fmla="*/ 6866467 h 6866467"/>
              <a:gd name="connsiteX4" fmla="*/ 7102388 w 7102388"/>
              <a:gd name="connsiteY4" fmla="*/ 6858002 h 6866467"/>
              <a:gd name="connsiteX0" fmla="*/ 6966921 w 6967305"/>
              <a:gd name="connsiteY0" fmla="*/ 6874935 h 6874935"/>
              <a:gd name="connsiteX1" fmla="*/ 6967305 w 6967305"/>
              <a:gd name="connsiteY1" fmla="*/ 0 h 6874935"/>
              <a:gd name="connsiteX2" fmla="*/ 2506512 w 6967305"/>
              <a:gd name="connsiteY2" fmla="*/ 8468 h 6874935"/>
              <a:gd name="connsiteX3" fmla="*/ 0 w 6967305"/>
              <a:gd name="connsiteY3" fmla="*/ 6866467 h 6874935"/>
              <a:gd name="connsiteX4" fmla="*/ 6966921 w 6967305"/>
              <a:gd name="connsiteY4" fmla="*/ 6874935 h 6874935"/>
              <a:gd name="connsiteX0" fmla="*/ 6983855 w 6983855"/>
              <a:gd name="connsiteY0" fmla="*/ 6968068 h 6968068"/>
              <a:gd name="connsiteX1" fmla="*/ 6967305 w 6983855"/>
              <a:gd name="connsiteY1" fmla="*/ 0 h 6968068"/>
              <a:gd name="connsiteX2" fmla="*/ 2506512 w 6983855"/>
              <a:gd name="connsiteY2" fmla="*/ 8468 h 6968068"/>
              <a:gd name="connsiteX3" fmla="*/ 0 w 6983855"/>
              <a:gd name="connsiteY3" fmla="*/ 6866467 h 6968068"/>
              <a:gd name="connsiteX4" fmla="*/ 6983855 w 6983855"/>
              <a:gd name="connsiteY4" fmla="*/ 6968068 h 6968068"/>
              <a:gd name="connsiteX0" fmla="*/ 6966921 w 6967305"/>
              <a:gd name="connsiteY0" fmla="*/ 6874934 h 6874934"/>
              <a:gd name="connsiteX1" fmla="*/ 6967305 w 6967305"/>
              <a:gd name="connsiteY1" fmla="*/ 0 h 6874934"/>
              <a:gd name="connsiteX2" fmla="*/ 2506512 w 6967305"/>
              <a:gd name="connsiteY2" fmla="*/ 8468 h 6874934"/>
              <a:gd name="connsiteX3" fmla="*/ 0 w 6967305"/>
              <a:gd name="connsiteY3" fmla="*/ 6866467 h 6874934"/>
              <a:gd name="connsiteX4" fmla="*/ 6966921 w 6967305"/>
              <a:gd name="connsiteY4" fmla="*/ 6874934 h 6874934"/>
              <a:gd name="connsiteX0" fmla="*/ 6966921 w 6966921"/>
              <a:gd name="connsiteY0" fmla="*/ 6866467 h 6866467"/>
              <a:gd name="connsiteX1" fmla="*/ 6120638 w 6966921"/>
              <a:gd name="connsiteY1" fmla="*/ 0 h 6866467"/>
              <a:gd name="connsiteX2" fmla="*/ 2506512 w 6966921"/>
              <a:gd name="connsiteY2" fmla="*/ 1 h 6866467"/>
              <a:gd name="connsiteX3" fmla="*/ 0 w 6966921"/>
              <a:gd name="connsiteY3" fmla="*/ 6858000 h 6866467"/>
              <a:gd name="connsiteX4" fmla="*/ 6966921 w 6966921"/>
              <a:gd name="connsiteY4" fmla="*/ 6866467 h 6866467"/>
              <a:gd name="connsiteX0" fmla="*/ 6120255 w 6120638"/>
              <a:gd name="connsiteY0" fmla="*/ 6858001 h 6858001"/>
              <a:gd name="connsiteX1" fmla="*/ 6120638 w 6120638"/>
              <a:gd name="connsiteY1" fmla="*/ 0 h 6858001"/>
              <a:gd name="connsiteX2" fmla="*/ 2506512 w 6120638"/>
              <a:gd name="connsiteY2" fmla="*/ 1 h 6858001"/>
              <a:gd name="connsiteX3" fmla="*/ 0 w 6120638"/>
              <a:gd name="connsiteY3" fmla="*/ 6858000 h 6858001"/>
              <a:gd name="connsiteX4" fmla="*/ 6120255 w 6120638"/>
              <a:gd name="connsiteY4" fmla="*/ 6858001 h 6858001"/>
              <a:gd name="connsiteX0" fmla="*/ 6120255 w 6120638"/>
              <a:gd name="connsiteY0" fmla="*/ 6858001 h 6858001"/>
              <a:gd name="connsiteX1" fmla="*/ 6120638 w 6120638"/>
              <a:gd name="connsiteY1" fmla="*/ 0 h 6858001"/>
              <a:gd name="connsiteX2" fmla="*/ 33475 w 6120638"/>
              <a:gd name="connsiteY2" fmla="*/ 41565 h 6858001"/>
              <a:gd name="connsiteX3" fmla="*/ 0 w 6120638"/>
              <a:gd name="connsiteY3" fmla="*/ 6858000 h 6858001"/>
              <a:gd name="connsiteX4" fmla="*/ 6120255 w 6120638"/>
              <a:gd name="connsiteY4" fmla="*/ 6858001 h 6858001"/>
              <a:gd name="connsiteX0" fmla="*/ 6086780 w 6087163"/>
              <a:gd name="connsiteY0" fmla="*/ 6858001 h 6868391"/>
              <a:gd name="connsiteX1" fmla="*/ 6087163 w 6087163"/>
              <a:gd name="connsiteY1" fmla="*/ 0 h 6868391"/>
              <a:gd name="connsiteX2" fmla="*/ 0 w 6087163"/>
              <a:gd name="connsiteY2" fmla="*/ 41565 h 6868391"/>
              <a:gd name="connsiteX3" fmla="*/ 195125 w 6087163"/>
              <a:gd name="connsiteY3" fmla="*/ 6868391 h 6868391"/>
              <a:gd name="connsiteX4" fmla="*/ 6086780 w 6087163"/>
              <a:gd name="connsiteY4" fmla="*/ 6858001 h 6868391"/>
              <a:gd name="connsiteX0" fmla="*/ 6086780 w 6087163"/>
              <a:gd name="connsiteY0" fmla="*/ 6858001 h 6868391"/>
              <a:gd name="connsiteX1" fmla="*/ 6087163 w 6087163"/>
              <a:gd name="connsiteY1" fmla="*/ 0 h 6868391"/>
              <a:gd name="connsiteX2" fmla="*/ 0 w 6087163"/>
              <a:gd name="connsiteY2" fmla="*/ 41565 h 6868391"/>
              <a:gd name="connsiteX3" fmla="*/ 8088 w 6087163"/>
              <a:gd name="connsiteY3" fmla="*/ 6868391 h 6868391"/>
              <a:gd name="connsiteX4" fmla="*/ 6086780 w 6087163"/>
              <a:gd name="connsiteY4" fmla="*/ 6858001 h 6868391"/>
              <a:gd name="connsiteX0" fmla="*/ 6086780 w 6087163"/>
              <a:gd name="connsiteY0" fmla="*/ 6858001 h 6868391"/>
              <a:gd name="connsiteX1" fmla="*/ 6087163 w 6087163"/>
              <a:gd name="connsiteY1" fmla="*/ 0 h 6868391"/>
              <a:gd name="connsiteX2" fmla="*/ 0 w 6087163"/>
              <a:gd name="connsiteY2" fmla="*/ 10392 h 6868391"/>
              <a:gd name="connsiteX3" fmla="*/ 8088 w 6087163"/>
              <a:gd name="connsiteY3" fmla="*/ 6868391 h 6868391"/>
              <a:gd name="connsiteX4" fmla="*/ 6086780 w 6087163"/>
              <a:gd name="connsiteY4" fmla="*/ 6858001 h 6868391"/>
              <a:gd name="connsiteX0" fmla="*/ 6086780 w 6087163"/>
              <a:gd name="connsiteY0" fmla="*/ 6858001 h 6868391"/>
              <a:gd name="connsiteX1" fmla="*/ 6087163 w 6087163"/>
              <a:gd name="connsiteY1" fmla="*/ 0 h 6868391"/>
              <a:gd name="connsiteX2" fmla="*/ 0 w 6087163"/>
              <a:gd name="connsiteY2" fmla="*/ 1 h 6868391"/>
              <a:gd name="connsiteX3" fmla="*/ 8088 w 6087163"/>
              <a:gd name="connsiteY3" fmla="*/ 6868391 h 6868391"/>
              <a:gd name="connsiteX4" fmla="*/ 6086780 w 6087163"/>
              <a:gd name="connsiteY4" fmla="*/ 6858001 h 68683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87163" h="6868391">
                <a:moveTo>
                  <a:pt x="6086780" y="6858001"/>
                </a:moveTo>
                <a:cubicBezTo>
                  <a:pt x="6086907" y="4569179"/>
                  <a:pt x="6087036" y="2288822"/>
                  <a:pt x="6087163" y="0"/>
                </a:cubicBezTo>
                <a:lnTo>
                  <a:pt x="0" y="1"/>
                </a:lnTo>
                <a:lnTo>
                  <a:pt x="8088" y="6868391"/>
                </a:lnTo>
                <a:lnTo>
                  <a:pt x="6086780" y="6858001"/>
                </a:lnTo>
                <a:close/>
              </a:path>
            </a:pathLst>
          </a:custGeom>
        </p:spPr>
        <p:txBody>
          <a:bodyPr rtlCol="0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ru-RU" noProof="0" dirty="0"/>
          </a:p>
        </p:txBody>
      </p:sp>
      <p:sp>
        <p:nvSpPr>
          <p:cNvPr id="11" name="Нижний колонтитул 4">
            <a:extLst>
              <a:ext uri="{FF2B5EF4-FFF2-40B4-BE49-F238E27FC236}">
                <a16:creationId xmlns:a16="http://schemas.microsoft.com/office/drawing/2014/main" id="{E04A41F0-316A-9F4A-879A-24800604D5BD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>
          <a:xfrm>
            <a:off x="766763" y="6573838"/>
            <a:ext cx="4114800" cy="200025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r>
              <a:rPr lang="ru-RU"/>
              <a:t>Нижний </a:t>
            </a:r>
            <a:r>
              <a:rPr lang="ru-RU" err="1"/>
              <a:t>коллонтитул</a:t>
            </a:r>
            <a:endParaRPr lang="ru-RU"/>
          </a:p>
        </p:txBody>
      </p:sp>
      <p:sp>
        <p:nvSpPr>
          <p:cNvPr id="12" name="Номер слайда 5">
            <a:extLst>
              <a:ext uri="{FF2B5EF4-FFF2-40B4-BE49-F238E27FC236}">
                <a16:creationId xmlns:a16="http://schemas.microsoft.com/office/drawing/2014/main" id="{A51FE26B-1907-7C4A-AFA2-14CBD2C4ECF5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>
          <a:xfrm>
            <a:off x="11044238" y="6573838"/>
            <a:ext cx="765175" cy="153987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1A0AFFB4-F304-8C40-9258-3B529C8ABE02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78463399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 и пиктограмм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6">
            <a:extLst>
              <a:ext uri="{FF2B5EF4-FFF2-40B4-BE49-F238E27FC236}">
                <a16:creationId xmlns:a16="http://schemas.microsoft.com/office/drawing/2014/main" id="{48A9E2AC-F3AB-1946-9F69-E07D76660F3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88" y="0"/>
            <a:ext cx="381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67291" y="478121"/>
            <a:ext cx="7228947" cy="645203"/>
          </a:xfrm>
        </p:spPr>
        <p:txBody>
          <a:bodyPr/>
          <a:lstStyle>
            <a:lvl1pPr>
              <a:defRPr sz="2600" b="0" i="0" cap="none" baseline="0"/>
            </a:lvl1pPr>
          </a:lstStyle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8" name="Объект 2"/>
          <p:cNvSpPr>
            <a:spLocks noGrp="1"/>
          </p:cNvSpPr>
          <p:nvPr>
            <p:ph idx="13"/>
          </p:nvPr>
        </p:nvSpPr>
        <p:spPr>
          <a:xfrm>
            <a:off x="767291" y="1298204"/>
            <a:ext cx="7228947" cy="2769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 baseline="0">
                <a:solidFill>
                  <a:srgbClr val="000000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Объект 2"/>
          <p:cNvSpPr>
            <a:spLocks noGrp="1"/>
          </p:cNvSpPr>
          <p:nvPr>
            <p:ph idx="1"/>
          </p:nvPr>
        </p:nvSpPr>
        <p:spPr>
          <a:xfrm>
            <a:off x="1906587" y="2524423"/>
            <a:ext cx="4189413" cy="1282402"/>
          </a:xfrm>
          <a:prstGeom prst="rect">
            <a:avLst/>
          </a:prstGeom>
        </p:spPr>
        <p:txBody>
          <a:bodyPr/>
          <a:lstStyle>
            <a:lvl1pPr marL="0" indent="0">
              <a:buFont typeface="Arial" charset="0"/>
              <a:buNone/>
              <a:defRPr baseline="0">
                <a:latin typeface="Arial" charset="0"/>
                <a:ea typeface="Arial" charset="0"/>
                <a:cs typeface="Arial" charset="0"/>
              </a:defRPr>
            </a:lvl1pPr>
            <a:lvl2pPr marL="457200" indent="0">
              <a:buFont typeface="Arial" charset="0"/>
              <a:buNone/>
              <a:defRPr baseline="0">
                <a:latin typeface="Arial" charset="0"/>
                <a:ea typeface="Arial" charset="0"/>
                <a:cs typeface="Arial" charset="0"/>
              </a:defRPr>
            </a:lvl2pPr>
            <a:lvl3pPr marL="914400" indent="0">
              <a:buFont typeface="Arial" charset="0"/>
              <a:buNone/>
              <a:defRPr baseline="0">
                <a:latin typeface="Arial" charset="0"/>
                <a:ea typeface="Arial" charset="0"/>
                <a:cs typeface="Arial" charset="0"/>
              </a:defRPr>
            </a:lvl3pPr>
            <a:lvl4pPr marL="1371600" indent="0">
              <a:buFont typeface="Arial" charset="0"/>
              <a:buNone/>
              <a:defRPr baseline="0">
                <a:latin typeface="Arial" charset="0"/>
                <a:ea typeface="Arial" charset="0"/>
                <a:cs typeface="Arial" charset="0"/>
              </a:defRPr>
            </a:lvl4pPr>
            <a:lvl5pPr marL="1828800" indent="0">
              <a:buFont typeface="Arial" charset="0"/>
              <a:buNone/>
              <a:defRPr baseline="0">
                <a:latin typeface="Arial" charset="0"/>
                <a:ea typeface="Arial" charset="0"/>
                <a:cs typeface="Arial" charset="0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5" name="Объект 2"/>
          <p:cNvSpPr>
            <a:spLocks noGrp="1"/>
          </p:cNvSpPr>
          <p:nvPr>
            <p:ph idx="14"/>
          </p:nvPr>
        </p:nvSpPr>
        <p:spPr>
          <a:xfrm>
            <a:off x="7613650" y="2524423"/>
            <a:ext cx="4195764" cy="1040802"/>
          </a:xfrm>
          <a:prstGeom prst="rect">
            <a:avLst/>
          </a:prstGeom>
        </p:spPr>
        <p:txBody>
          <a:bodyPr/>
          <a:lstStyle>
            <a:lvl1pPr marL="0" indent="0">
              <a:buFont typeface="Arial" charset="0"/>
              <a:buNone/>
              <a:defRPr baseline="0">
                <a:latin typeface="Arial" charset="0"/>
                <a:ea typeface="Arial" charset="0"/>
                <a:cs typeface="Arial" charset="0"/>
              </a:defRPr>
            </a:lvl1pPr>
            <a:lvl2pPr marL="457200" indent="0">
              <a:buFont typeface="Arial" charset="0"/>
              <a:buNone/>
              <a:defRPr baseline="0">
                <a:latin typeface="Arial" charset="0"/>
                <a:ea typeface="Arial" charset="0"/>
                <a:cs typeface="Arial" charset="0"/>
              </a:defRPr>
            </a:lvl2pPr>
            <a:lvl3pPr marL="914400" indent="0">
              <a:buFont typeface="Arial" charset="0"/>
              <a:buNone/>
              <a:defRPr baseline="0">
                <a:latin typeface="Arial" charset="0"/>
                <a:ea typeface="Arial" charset="0"/>
                <a:cs typeface="Arial" charset="0"/>
              </a:defRPr>
            </a:lvl3pPr>
            <a:lvl4pPr marL="1371600" indent="0">
              <a:buFont typeface="Arial" charset="0"/>
              <a:buNone/>
              <a:defRPr baseline="0">
                <a:latin typeface="Arial" charset="0"/>
                <a:ea typeface="Arial" charset="0"/>
                <a:cs typeface="Arial" charset="0"/>
              </a:defRPr>
            </a:lvl4pPr>
            <a:lvl5pPr marL="1828800" indent="0">
              <a:buFont typeface="Arial" charset="0"/>
              <a:buNone/>
              <a:defRPr baseline="0">
                <a:latin typeface="Arial" charset="0"/>
                <a:ea typeface="Arial" charset="0"/>
                <a:cs typeface="Arial" charset="0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6" name="Рисунок 8"/>
          <p:cNvSpPr>
            <a:spLocks noGrp="1"/>
          </p:cNvSpPr>
          <p:nvPr>
            <p:ph type="pic" sz="quarter" idx="15"/>
          </p:nvPr>
        </p:nvSpPr>
        <p:spPr>
          <a:xfrm>
            <a:off x="758825" y="2282823"/>
            <a:ext cx="765175" cy="765177"/>
          </a:xfrm>
          <a:custGeom>
            <a:avLst/>
            <a:gdLst>
              <a:gd name="connsiteX0" fmla="*/ 0 w 6402324"/>
              <a:gd name="connsiteY0" fmla="*/ 6858000 h 6858000"/>
              <a:gd name="connsiteX1" fmla="*/ 1600581 w 6402324"/>
              <a:gd name="connsiteY1" fmla="*/ 0 h 6858000"/>
              <a:gd name="connsiteX2" fmla="*/ 6402324 w 6402324"/>
              <a:gd name="connsiteY2" fmla="*/ 0 h 6858000"/>
              <a:gd name="connsiteX3" fmla="*/ 4801743 w 6402324"/>
              <a:gd name="connsiteY3" fmla="*/ 6858000 h 6858000"/>
              <a:gd name="connsiteX4" fmla="*/ 0 w 6402324"/>
              <a:gd name="connsiteY4" fmla="*/ 6858000 h 6858000"/>
              <a:gd name="connsiteX0" fmla="*/ 0 w 6402324"/>
              <a:gd name="connsiteY0" fmla="*/ 6858000 h 6858000"/>
              <a:gd name="connsiteX1" fmla="*/ 381 w 6402324"/>
              <a:gd name="connsiteY1" fmla="*/ 0 h 6858000"/>
              <a:gd name="connsiteX2" fmla="*/ 6402324 w 6402324"/>
              <a:gd name="connsiteY2" fmla="*/ 0 h 6858000"/>
              <a:gd name="connsiteX3" fmla="*/ 4801743 w 6402324"/>
              <a:gd name="connsiteY3" fmla="*/ 6858000 h 6858000"/>
              <a:gd name="connsiteX4" fmla="*/ 0 w 6402324"/>
              <a:gd name="connsiteY4" fmla="*/ 6858000 h 6858000"/>
              <a:gd name="connsiteX0" fmla="*/ 0 w 8908457"/>
              <a:gd name="connsiteY0" fmla="*/ 6858000 h 6858000"/>
              <a:gd name="connsiteX1" fmla="*/ 381 w 8908457"/>
              <a:gd name="connsiteY1" fmla="*/ 0 h 6858000"/>
              <a:gd name="connsiteX2" fmla="*/ 8908457 w 8908457"/>
              <a:gd name="connsiteY2" fmla="*/ 0 h 6858000"/>
              <a:gd name="connsiteX3" fmla="*/ 4801743 w 8908457"/>
              <a:gd name="connsiteY3" fmla="*/ 6858000 h 6858000"/>
              <a:gd name="connsiteX4" fmla="*/ 0 w 8908457"/>
              <a:gd name="connsiteY4" fmla="*/ 6858000 h 6858000"/>
              <a:gd name="connsiteX0" fmla="*/ 0 w 8908457"/>
              <a:gd name="connsiteY0" fmla="*/ 6858000 h 6866467"/>
              <a:gd name="connsiteX1" fmla="*/ 381 w 8908457"/>
              <a:gd name="connsiteY1" fmla="*/ 0 h 6866467"/>
              <a:gd name="connsiteX2" fmla="*/ 8908457 w 8908457"/>
              <a:gd name="connsiteY2" fmla="*/ 0 h 6866467"/>
              <a:gd name="connsiteX3" fmla="*/ 6393476 w 8908457"/>
              <a:gd name="connsiteY3" fmla="*/ 6866467 h 6866467"/>
              <a:gd name="connsiteX4" fmla="*/ 0 w 8908457"/>
              <a:gd name="connsiteY4" fmla="*/ 6858000 h 6866467"/>
              <a:gd name="connsiteX0" fmla="*/ 0 w 8908457"/>
              <a:gd name="connsiteY0" fmla="*/ 6858000 h 6917267"/>
              <a:gd name="connsiteX1" fmla="*/ 381 w 8908457"/>
              <a:gd name="connsiteY1" fmla="*/ 0 h 6917267"/>
              <a:gd name="connsiteX2" fmla="*/ 8908457 w 8908457"/>
              <a:gd name="connsiteY2" fmla="*/ 0 h 6917267"/>
              <a:gd name="connsiteX3" fmla="*/ 6393476 w 8908457"/>
              <a:gd name="connsiteY3" fmla="*/ 6917267 h 6917267"/>
              <a:gd name="connsiteX4" fmla="*/ 0 w 8908457"/>
              <a:gd name="connsiteY4" fmla="*/ 6858000 h 6917267"/>
              <a:gd name="connsiteX0" fmla="*/ 0 w 8908457"/>
              <a:gd name="connsiteY0" fmla="*/ 6858000 h 6858000"/>
              <a:gd name="connsiteX1" fmla="*/ 381 w 8908457"/>
              <a:gd name="connsiteY1" fmla="*/ 0 h 6858000"/>
              <a:gd name="connsiteX2" fmla="*/ 8908457 w 8908457"/>
              <a:gd name="connsiteY2" fmla="*/ 0 h 6858000"/>
              <a:gd name="connsiteX3" fmla="*/ 6385010 w 8908457"/>
              <a:gd name="connsiteY3" fmla="*/ 6858000 h 6858000"/>
              <a:gd name="connsiteX4" fmla="*/ 0 w 8908457"/>
              <a:gd name="connsiteY4" fmla="*/ 6858000 h 6858000"/>
              <a:gd name="connsiteX0" fmla="*/ 0 w 8823790"/>
              <a:gd name="connsiteY0" fmla="*/ 6858000 h 6858000"/>
              <a:gd name="connsiteX1" fmla="*/ 381 w 8823790"/>
              <a:gd name="connsiteY1" fmla="*/ 0 h 6858000"/>
              <a:gd name="connsiteX2" fmla="*/ 8823790 w 8823790"/>
              <a:gd name="connsiteY2" fmla="*/ 8467 h 6858000"/>
              <a:gd name="connsiteX3" fmla="*/ 6385010 w 8823790"/>
              <a:gd name="connsiteY3" fmla="*/ 6858000 h 6858000"/>
              <a:gd name="connsiteX4" fmla="*/ 0 w 8823790"/>
              <a:gd name="connsiteY4" fmla="*/ 6858000 h 6858000"/>
              <a:gd name="connsiteX0" fmla="*/ 0 w 8874590"/>
              <a:gd name="connsiteY0" fmla="*/ 6858000 h 6858000"/>
              <a:gd name="connsiteX1" fmla="*/ 381 w 8874590"/>
              <a:gd name="connsiteY1" fmla="*/ 0 h 6858000"/>
              <a:gd name="connsiteX2" fmla="*/ 8874590 w 8874590"/>
              <a:gd name="connsiteY2" fmla="*/ 8467 h 6858000"/>
              <a:gd name="connsiteX3" fmla="*/ 6385010 w 8874590"/>
              <a:gd name="connsiteY3" fmla="*/ 6858000 h 6858000"/>
              <a:gd name="connsiteX4" fmla="*/ 0 w 8874590"/>
              <a:gd name="connsiteY4" fmla="*/ 6858000 h 6858000"/>
              <a:gd name="connsiteX0" fmla="*/ 0 w 8849190"/>
              <a:gd name="connsiteY0" fmla="*/ 6858000 h 6858000"/>
              <a:gd name="connsiteX1" fmla="*/ 381 w 8849190"/>
              <a:gd name="connsiteY1" fmla="*/ 0 h 6858000"/>
              <a:gd name="connsiteX2" fmla="*/ 8849190 w 8849190"/>
              <a:gd name="connsiteY2" fmla="*/ 16934 h 6858000"/>
              <a:gd name="connsiteX3" fmla="*/ 6385010 w 8849190"/>
              <a:gd name="connsiteY3" fmla="*/ 6858000 h 6858000"/>
              <a:gd name="connsiteX4" fmla="*/ 0 w 8849190"/>
              <a:gd name="connsiteY4" fmla="*/ 6858000 h 6858000"/>
              <a:gd name="connsiteX0" fmla="*/ 0 w 8586723"/>
              <a:gd name="connsiteY0" fmla="*/ 6858000 h 6858000"/>
              <a:gd name="connsiteX1" fmla="*/ 381 w 8586723"/>
              <a:gd name="connsiteY1" fmla="*/ 0 h 6858000"/>
              <a:gd name="connsiteX2" fmla="*/ 8586723 w 8586723"/>
              <a:gd name="connsiteY2" fmla="*/ 1 h 6858000"/>
              <a:gd name="connsiteX3" fmla="*/ 6385010 w 8586723"/>
              <a:gd name="connsiteY3" fmla="*/ 6858000 h 6858000"/>
              <a:gd name="connsiteX4" fmla="*/ 0 w 8586723"/>
              <a:gd name="connsiteY4" fmla="*/ 6858000 h 6858000"/>
              <a:gd name="connsiteX0" fmla="*/ 0 w 8874589"/>
              <a:gd name="connsiteY0" fmla="*/ 6858000 h 6858000"/>
              <a:gd name="connsiteX1" fmla="*/ 381 w 8874589"/>
              <a:gd name="connsiteY1" fmla="*/ 0 h 6858000"/>
              <a:gd name="connsiteX2" fmla="*/ 8874589 w 8874589"/>
              <a:gd name="connsiteY2" fmla="*/ 8468 h 6858000"/>
              <a:gd name="connsiteX3" fmla="*/ 6385010 w 8874589"/>
              <a:gd name="connsiteY3" fmla="*/ 6858000 h 6858000"/>
              <a:gd name="connsiteX4" fmla="*/ 0 w 8874589"/>
              <a:gd name="connsiteY4" fmla="*/ 6858000 h 6858000"/>
              <a:gd name="connsiteX0" fmla="*/ 0 w 8823789"/>
              <a:gd name="connsiteY0" fmla="*/ 6858000 h 6858000"/>
              <a:gd name="connsiteX1" fmla="*/ 381 w 8823789"/>
              <a:gd name="connsiteY1" fmla="*/ 0 h 6858000"/>
              <a:gd name="connsiteX2" fmla="*/ 8823789 w 8823789"/>
              <a:gd name="connsiteY2" fmla="*/ 16934 h 6858000"/>
              <a:gd name="connsiteX3" fmla="*/ 6385010 w 8823789"/>
              <a:gd name="connsiteY3" fmla="*/ 6858000 h 6858000"/>
              <a:gd name="connsiteX4" fmla="*/ 0 w 8823789"/>
              <a:gd name="connsiteY4" fmla="*/ 6858000 h 6858000"/>
              <a:gd name="connsiteX0" fmla="*/ 0 w 8883055"/>
              <a:gd name="connsiteY0" fmla="*/ 6858000 h 6858000"/>
              <a:gd name="connsiteX1" fmla="*/ 381 w 8883055"/>
              <a:gd name="connsiteY1" fmla="*/ 0 h 6858000"/>
              <a:gd name="connsiteX2" fmla="*/ 8883055 w 8883055"/>
              <a:gd name="connsiteY2" fmla="*/ 8467 h 6858000"/>
              <a:gd name="connsiteX3" fmla="*/ 6385010 w 8883055"/>
              <a:gd name="connsiteY3" fmla="*/ 6858000 h 6858000"/>
              <a:gd name="connsiteX4" fmla="*/ 0 w 8883055"/>
              <a:gd name="connsiteY4" fmla="*/ 6858000 h 6858000"/>
              <a:gd name="connsiteX0" fmla="*/ 0 w 8891522"/>
              <a:gd name="connsiteY0" fmla="*/ 6900333 h 6900333"/>
              <a:gd name="connsiteX1" fmla="*/ 381 w 8891522"/>
              <a:gd name="connsiteY1" fmla="*/ 42333 h 6900333"/>
              <a:gd name="connsiteX2" fmla="*/ 8891522 w 8891522"/>
              <a:gd name="connsiteY2" fmla="*/ 0 h 6900333"/>
              <a:gd name="connsiteX3" fmla="*/ 6385010 w 8891522"/>
              <a:gd name="connsiteY3" fmla="*/ 6900333 h 6900333"/>
              <a:gd name="connsiteX4" fmla="*/ 0 w 8891522"/>
              <a:gd name="connsiteY4" fmla="*/ 6900333 h 6900333"/>
              <a:gd name="connsiteX0" fmla="*/ 0 w 8891522"/>
              <a:gd name="connsiteY0" fmla="*/ 6858000 h 6858000"/>
              <a:gd name="connsiteX1" fmla="*/ 381 w 8891522"/>
              <a:gd name="connsiteY1" fmla="*/ 0 h 6858000"/>
              <a:gd name="connsiteX2" fmla="*/ 8891522 w 8891522"/>
              <a:gd name="connsiteY2" fmla="*/ 1 h 6858000"/>
              <a:gd name="connsiteX3" fmla="*/ 6385010 w 8891522"/>
              <a:gd name="connsiteY3" fmla="*/ 6858000 h 6858000"/>
              <a:gd name="connsiteX4" fmla="*/ 0 w 8891522"/>
              <a:gd name="connsiteY4" fmla="*/ 6858000 h 6858000"/>
              <a:gd name="connsiteX0" fmla="*/ 0 w 12200848"/>
              <a:gd name="connsiteY0" fmla="*/ 6858000 h 6858000"/>
              <a:gd name="connsiteX1" fmla="*/ 12200848 w 12200848"/>
              <a:gd name="connsiteY1" fmla="*/ 0 h 6858000"/>
              <a:gd name="connsiteX2" fmla="*/ 8891522 w 12200848"/>
              <a:gd name="connsiteY2" fmla="*/ 1 h 6858000"/>
              <a:gd name="connsiteX3" fmla="*/ 6385010 w 12200848"/>
              <a:gd name="connsiteY3" fmla="*/ 6858000 h 6858000"/>
              <a:gd name="connsiteX4" fmla="*/ 0 w 12200848"/>
              <a:gd name="connsiteY4" fmla="*/ 6858000 h 6858000"/>
              <a:gd name="connsiteX0" fmla="*/ 5823923 w 5823923"/>
              <a:gd name="connsiteY0" fmla="*/ 6858000 h 6858000"/>
              <a:gd name="connsiteX1" fmla="*/ 5815838 w 5823923"/>
              <a:gd name="connsiteY1" fmla="*/ 0 h 6858000"/>
              <a:gd name="connsiteX2" fmla="*/ 2506512 w 5823923"/>
              <a:gd name="connsiteY2" fmla="*/ 1 h 6858000"/>
              <a:gd name="connsiteX3" fmla="*/ 0 w 5823923"/>
              <a:gd name="connsiteY3" fmla="*/ 6858000 h 6858000"/>
              <a:gd name="connsiteX4" fmla="*/ 5823923 w 5823923"/>
              <a:gd name="connsiteY4" fmla="*/ 6858000 h 6858000"/>
              <a:gd name="connsiteX0" fmla="*/ 5900123 w 5900123"/>
              <a:gd name="connsiteY0" fmla="*/ 6874933 h 6874933"/>
              <a:gd name="connsiteX1" fmla="*/ 5815838 w 5900123"/>
              <a:gd name="connsiteY1" fmla="*/ 0 h 6874933"/>
              <a:gd name="connsiteX2" fmla="*/ 2506512 w 5900123"/>
              <a:gd name="connsiteY2" fmla="*/ 1 h 6874933"/>
              <a:gd name="connsiteX3" fmla="*/ 0 w 5900123"/>
              <a:gd name="connsiteY3" fmla="*/ 6858000 h 6874933"/>
              <a:gd name="connsiteX4" fmla="*/ 5900123 w 5900123"/>
              <a:gd name="connsiteY4" fmla="*/ 6874933 h 6874933"/>
              <a:gd name="connsiteX0" fmla="*/ 5815456 w 5815838"/>
              <a:gd name="connsiteY0" fmla="*/ 6866467 h 6866467"/>
              <a:gd name="connsiteX1" fmla="*/ 5815838 w 5815838"/>
              <a:gd name="connsiteY1" fmla="*/ 0 h 6866467"/>
              <a:gd name="connsiteX2" fmla="*/ 2506512 w 5815838"/>
              <a:gd name="connsiteY2" fmla="*/ 1 h 6866467"/>
              <a:gd name="connsiteX3" fmla="*/ 0 w 5815838"/>
              <a:gd name="connsiteY3" fmla="*/ 6858000 h 6866467"/>
              <a:gd name="connsiteX4" fmla="*/ 5815456 w 5815838"/>
              <a:gd name="connsiteY4" fmla="*/ 6866467 h 6866467"/>
              <a:gd name="connsiteX0" fmla="*/ 5815456 w 5815838"/>
              <a:gd name="connsiteY0" fmla="*/ 7001934 h 7001934"/>
              <a:gd name="connsiteX1" fmla="*/ 5815838 w 5815838"/>
              <a:gd name="connsiteY1" fmla="*/ 0 h 7001934"/>
              <a:gd name="connsiteX2" fmla="*/ 2506512 w 5815838"/>
              <a:gd name="connsiteY2" fmla="*/ 1 h 7001934"/>
              <a:gd name="connsiteX3" fmla="*/ 0 w 5815838"/>
              <a:gd name="connsiteY3" fmla="*/ 6858000 h 7001934"/>
              <a:gd name="connsiteX4" fmla="*/ 5815456 w 5815838"/>
              <a:gd name="connsiteY4" fmla="*/ 7001934 h 7001934"/>
              <a:gd name="connsiteX0" fmla="*/ 5823922 w 5823923"/>
              <a:gd name="connsiteY0" fmla="*/ 6858001 h 6858001"/>
              <a:gd name="connsiteX1" fmla="*/ 5815838 w 5823923"/>
              <a:gd name="connsiteY1" fmla="*/ 0 h 6858001"/>
              <a:gd name="connsiteX2" fmla="*/ 2506512 w 5823923"/>
              <a:gd name="connsiteY2" fmla="*/ 1 h 6858001"/>
              <a:gd name="connsiteX3" fmla="*/ 0 w 5823923"/>
              <a:gd name="connsiteY3" fmla="*/ 6858000 h 6858001"/>
              <a:gd name="connsiteX4" fmla="*/ 5823922 w 5823923"/>
              <a:gd name="connsiteY4" fmla="*/ 6858001 h 6858001"/>
              <a:gd name="connsiteX0" fmla="*/ 5942455 w 5942455"/>
              <a:gd name="connsiteY0" fmla="*/ 6866468 h 6866468"/>
              <a:gd name="connsiteX1" fmla="*/ 5815838 w 5942455"/>
              <a:gd name="connsiteY1" fmla="*/ 0 h 6866468"/>
              <a:gd name="connsiteX2" fmla="*/ 2506512 w 5942455"/>
              <a:gd name="connsiteY2" fmla="*/ 1 h 6866468"/>
              <a:gd name="connsiteX3" fmla="*/ 0 w 5942455"/>
              <a:gd name="connsiteY3" fmla="*/ 6858000 h 6866468"/>
              <a:gd name="connsiteX4" fmla="*/ 5942455 w 5942455"/>
              <a:gd name="connsiteY4" fmla="*/ 6866468 h 6866468"/>
              <a:gd name="connsiteX0" fmla="*/ 5806988 w 5815838"/>
              <a:gd name="connsiteY0" fmla="*/ 6874935 h 6874935"/>
              <a:gd name="connsiteX1" fmla="*/ 5815838 w 5815838"/>
              <a:gd name="connsiteY1" fmla="*/ 0 h 6874935"/>
              <a:gd name="connsiteX2" fmla="*/ 2506512 w 5815838"/>
              <a:gd name="connsiteY2" fmla="*/ 1 h 6874935"/>
              <a:gd name="connsiteX3" fmla="*/ 0 w 5815838"/>
              <a:gd name="connsiteY3" fmla="*/ 6858000 h 6874935"/>
              <a:gd name="connsiteX4" fmla="*/ 5806988 w 5815838"/>
              <a:gd name="connsiteY4" fmla="*/ 6874935 h 6874935"/>
              <a:gd name="connsiteX0" fmla="*/ 5806988 w 6958838"/>
              <a:gd name="connsiteY0" fmla="*/ 6874934 h 6874934"/>
              <a:gd name="connsiteX1" fmla="*/ 6958838 w 6958838"/>
              <a:gd name="connsiteY1" fmla="*/ 8466 h 6874934"/>
              <a:gd name="connsiteX2" fmla="*/ 2506512 w 6958838"/>
              <a:gd name="connsiteY2" fmla="*/ 0 h 6874934"/>
              <a:gd name="connsiteX3" fmla="*/ 0 w 6958838"/>
              <a:gd name="connsiteY3" fmla="*/ 6857999 h 6874934"/>
              <a:gd name="connsiteX4" fmla="*/ 5806988 w 6958838"/>
              <a:gd name="connsiteY4" fmla="*/ 6874934 h 6874934"/>
              <a:gd name="connsiteX0" fmla="*/ 6958455 w 6958838"/>
              <a:gd name="connsiteY0" fmla="*/ 6858001 h 6858001"/>
              <a:gd name="connsiteX1" fmla="*/ 6958838 w 6958838"/>
              <a:gd name="connsiteY1" fmla="*/ 8466 h 6858001"/>
              <a:gd name="connsiteX2" fmla="*/ 2506512 w 6958838"/>
              <a:gd name="connsiteY2" fmla="*/ 0 h 6858001"/>
              <a:gd name="connsiteX3" fmla="*/ 0 w 6958838"/>
              <a:gd name="connsiteY3" fmla="*/ 6857999 h 6858001"/>
              <a:gd name="connsiteX4" fmla="*/ 6958455 w 6958838"/>
              <a:gd name="connsiteY4" fmla="*/ 6858001 h 6858001"/>
              <a:gd name="connsiteX0" fmla="*/ 6958455 w 6967305"/>
              <a:gd name="connsiteY0" fmla="*/ 6858001 h 6858001"/>
              <a:gd name="connsiteX1" fmla="*/ 6967305 w 6967305"/>
              <a:gd name="connsiteY1" fmla="*/ 126999 h 6858001"/>
              <a:gd name="connsiteX2" fmla="*/ 2506512 w 6967305"/>
              <a:gd name="connsiteY2" fmla="*/ 0 h 6858001"/>
              <a:gd name="connsiteX3" fmla="*/ 0 w 6967305"/>
              <a:gd name="connsiteY3" fmla="*/ 6857999 h 6858001"/>
              <a:gd name="connsiteX4" fmla="*/ 6958455 w 6967305"/>
              <a:gd name="connsiteY4" fmla="*/ 6858001 h 6858001"/>
              <a:gd name="connsiteX0" fmla="*/ 6958455 w 6967305"/>
              <a:gd name="connsiteY0" fmla="*/ 6866469 h 6866469"/>
              <a:gd name="connsiteX1" fmla="*/ 6967305 w 6967305"/>
              <a:gd name="connsiteY1" fmla="*/ 0 h 6866469"/>
              <a:gd name="connsiteX2" fmla="*/ 2506512 w 6967305"/>
              <a:gd name="connsiteY2" fmla="*/ 8468 h 6866469"/>
              <a:gd name="connsiteX3" fmla="*/ 0 w 6967305"/>
              <a:gd name="connsiteY3" fmla="*/ 6866467 h 6866469"/>
              <a:gd name="connsiteX4" fmla="*/ 6958455 w 6967305"/>
              <a:gd name="connsiteY4" fmla="*/ 6866469 h 6866469"/>
              <a:gd name="connsiteX0" fmla="*/ 7102388 w 7102388"/>
              <a:gd name="connsiteY0" fmla="*/ 6858002 h 6866467"/>
              <a:gd name="connsiteX1" fmla="*/ 6967305 w 7102388"/>
              <a:gd name="connsiteY1" fmla="*/ 0 h 6866467"/>
              <a:gd name="connsiteX2" fmla="*/ 2506512 w 7102388"/>
              <a:gd name="connsiteY2" fmla="*/ 8468 h 6866467"/>
              <a:gd name="connsiteX3" fmla="*/ 0 w 7102388"/>
              <a:gd name="connsiteY3" fmla="*/ 6866467 h 6866467"/>
              <a:gd name="connsiteX4" fmla="*/ 7102388 w 7102388"/>
              <a:gd name="connsiteY4" fmla="*/ 6858002 h 6866467"/>
              <a:gd name="connsiteX0" fmla="*/ 6966921 w 6967305"/>
              <a:gd name="connsiteY0" fmla="*/ 6874935 h 6874935"/>
              <a:gd name="connsiteX1" fmla="*/ 6967305 w 6967305"/>
              <a:gd name="connsiteY1" fmla="*/ 0 h 6874935"/>
              <a:gd name="connsiteX2" fmla="*/ 2506512 w 6967305"/>
              <a:gd name="connsiteY2" fmla="*/ 8468 h 6874935"/>
              <a:gd name="connsiteX3" fmla="*/ 0 w 6967305"/>
              <a:gd name="connsiteY3" fmla="*/ 6866467 h 6874935"/>
              <a:gd name="connsiteX4" fmla="*/ 6966921 w 6967305"/>
              <a:gd name="connsiteY4" fmla="*/ 6874935 h 6874935"/>
              <a:gd name="connsiteX0" fmla="*/ 6983855 w 6983855"/>
              <a:gd name="connsiteY0" fmla="*/ 6968068 h 6968068"/>
              <a:gd name="connsiteX1" fmla="*/ 6967305 w 6983855"/>
              <a:gd name="connsiteY1" fmla="*/ 0 h 6968068"/>
              <a:gd name="connsiteX2" fmla="*/ 2506512 w 6983855"/>
              <a:gd name="connsiteY2" fmla="*/ 8468 h 6968068"/>
              <a:gd name="connsiteX3" fmla="*/ 0 w 6983855"/>
              <a:gd name="connsiteY3" fmla="*/ 6866467 h 6968068"/>
              <a:gd name="connsiteX4" fmla="*/ 6983855 w 6983855"/>
              <a:gd name="connsiteY4" fmla="*/ 6968068 h 6968068"/>
              <a:gd name="connsiteX0" fmla="*/ 6966921 w 6967305"/>
              <a:gd name="connsiteY0" fmla="*/ 6874934 h 6874934"/>
              <a:gd name="connsiteX1" fmla="*/ 6967305 w 6967305"/>
              <a:gd name="connsiteY1" fmla="*/ 0 h 6874934"/>
              <a:gd name="connsiteX2" fmla="*/ 2506512 w 6967305"/>
              <a:gd name="connsiteY2" fmla="*/ 8468 h 6874934"/>
              <a:gd name="connsiteX3" fmla="*/ 0 w 6967305"/>
              <a:gd name="connsiteY3" fmla="*/ 6866467 h 6874934"/>
              <a:gd name="connsiteX4" fmla="*/ 6966921 w 6967305"/>
              <a:gd name="connsiteY4" fmla="*/ 6874934 h 6874934"/>
              <a:gd name="connsiteX0" fmla="*/ 6966921 w 6966921"/>
              <a:gd name="connsiteY0" fmla="*/ 6866467 h 6866467"/>
              <a:gd name="connsiteX1" fmla="*/ 6120638 w 6966921"/>
              <a:gd name="connsiteY1" fmla="*/ 0 h 6866467"/>
              <a:gd name="connsiteX2" fmla="*/ 2506512 w 6966921"/>
              <a:gd name="connsiteY2" fmla="*/ 1 h 6866467"/>
              <a:gd name="connsiteX3" fmla="*/ 0 w 6966921"/>
              <a:gd name="connsiteY3" fmla="*/ 6858000 h 6866467"/>
              <a:gd name="connsiteX4" fmla="*/ 6966921 w 6966921"/>
              <a:gd name="connsiteY4" fmla="*/ 6866467 h 6866467"/>
              <a:gd name="connsiteX0" fmla="*/ 6120255 w 6120638"/>
              <a:gd name="connsiteY0" fmla="*/ 6858001 h 6858001"/>
              <a:gd name="connsiteX1" fmla="*/ 6120638 w 6120638"/>
              <a:gd name="connsiteY1" fmla="*/ 0 h 6858001"/>
              <a:gd name="connsiteX2" fmla="*/ 2506512 w 6120638"/>
              <a:gd name="connsiteY2" fmla="*/ 1 h 6858001"/>
              <a:gd name="connsiteX3" fmla="*/ 0 w 6120638"/>
              <a:gd name="connsiteY3" fmla="*/ 6858000 h 6858001"/>
              <a:gd name="connsiteX4" fmla="*/ 6120255 w 6120638"/>
              <a:gd name="connsiteY4" fmla="*/ 6858001 h 6858001"/>
              <a:gd name="connsiteX0" fmla="*/ 6120255 w 6120638"/>
              <a:gd name="connsiteY0" fmla="*/ 6858001 h 6858001"/>
              <a:gd name="connsiteX1" fmla="*/ 6120638 w 6120638"/>
              <a:gd name="connsiteY1" fmla="*/ 0 h 6858001"/>
              <a:gd name="connsiteX2" fmla="*/ 33475 w 6120638"/>
              <a:gd name="connsiteY2" fmla="*/ 41565 h 6858001"/>
              <a:gd name="connsiteX3" fmla="*/ 0 w 6120638"/>
              <a:gd name="connsiteY3" fmla="*/ 6858000 h 6858001"/>
              <a:gd name="connsiteX4" fmla="*/ 6120255 w 6120638"/>
              <a:gd name="connsiteY4" fmla="*/ 6858001 h 6858001"/>
              <a:gd name="connsiteX0" fmla="*/ 6086780 w 6087163"/>
              <a:gd name="connsiteY0" fmla="*/ 6858001 h 6868391"/>
              <a:gd name="connsiteX1" fmla="*/ 6087163 w 6087163"/>
              <a:gd name="connsiteY1" fmla="*/ 0 h 6868391"/>
              <a:gd name="connsiteX2" fmla="*/ 0 w 6087163"/>
              <a:gd name="connsiteY2" fmla="*/ 41565 h 6868391"/>
              <a:gd name="connsiteX3" fmla="*/ 195125 w 6087163"/>
              <a:gd name="connsiteY3" fmla="*/ 6868391 h 6868391"/>
              <a:gd name="connsiteX4" fmla="*/ 6086780 w 6087163"/>
              <a:gd name="connsiteY4" fmla="*/ 6858001 h 6868391"/>
              <a:gd name="connsiteX0" fmla="*/ 6086780 w 6087163"/>
              <a:gd name="connsiteY0" fmla="*/ 6858001 h 6868391"/>
              <a:gd name="connsiteX1" fmla="*/ 6087163 w 6087163"/>
              <a:gd name="connsiteY1" fmla="*/ 0 h 6868391"/>
              <a:gd name="connsiteX2" fmla="*/ 0 w 6087163"/>
              <a:gd name="connsiteY2" fmla="*/ 41565 h 6868391"/>
              <a:gd name="connsiteX3" fmla="*/ 8088 w 6087163"/>
              <a:gd name="connsiteY3" fmla="*/ 6868391 h 6868391"/>
              <a:gd name="connsiteX4" fmla="*/ 6086780 w 6087163"/>
              <a:gd name="connsiteY4" fmla="*/ 6858001 h 6868391"/>
              <a:gd name="connsiteX0" fmla="*/ 6086780 w 6087163"/>
              <a:gd name="connsiteY0" fmla="*/ 6858001 h 6868391"/>
              <a:gd name="connsiteX1" fmla="*/ 6087163 w 6087163"/>
              <a:gd name="connsiteY1" fmla="*/ 0 h 6868391"/>
              <a:gd name="connsiteX2" fmla="*/ 0 w 6087163"/>
              <a:gd name="connsiteY2" fmla="*/ 10392 h 6868391"/>
              <a:gd name="connsiteX3" fmla="*/ 8088 w 6087163"/>
              <a:gd name="connsiteY3" fmla="*/ 6868391 h 6868391"/>
              <a:gd name="connsiteX4" fmla="*/ 6086780 w 6087163"/>
              <a:gd name="connsiteY4" fmla="*/ 6858001 h 6868391"/>
              <a:gd name="connsiteX0" fmla="*/ 6086780 w 6087163"/>
              <a:gd name="connsiteY0" fmla="*/ 6858001 h 6868391"/>
              <a:gd name="connsiteX1" fmla="*/ 6087163 w 6087163"/>
              <a:gd name="connsiteY1" fmla="*/ 0 h 6868391"/>
              <a:gd name="connsiteX2" fmla="*/ 0 w 6087163"/>
              <a:gd name="connsiteY2" fmla="*/ 1 h 6868391"/>
              <a:gd name="connsiteX3" fmla="*/ 8088 w 6087163"/>
              <a:gd name="connsiteY3" fmla="*/ 6868391 h 6868391"/>
              <a:gd name="connsiteX4" fmla="*/ 6086780 w 6087163"/>
              <a:gd name="connsiteY4" fmla="*/ 6858001 h 68683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87163" h="6868391">
                <a:moveTo>
                  <a:pt x="6086780" y="6858001"/>
                </a:moveTo>
                <a:cubicBezTo>
                  <a:pt x="6086907" y="4569179"/>
                  <a:pt x="6087036" y="2288822"/>
                  <a:pt x="6087163" y="0"/>
                </a:cubicBezTo>
                <a:lnTo>
                  <a:pt x="0" y="1"/>
                </a:lnTo>
                <a:lnTo>
                  <a:pt x="8088" y="6868391"/>
                </a:lnTo>
                <a:lnTo>
                  <a:pt x="6086780" y="6858001"/>
                </a:lnTo>
                <a:close/>
              </a:path>
            </a:pathLst>
          </a:custGeom>
        </p:spPr>
        <p:txBody>
          <a:bodyPr rtlCol="0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ru-RU" noProof="0" dirty="0"/>
          </a:p>
        </p:txBody>
      </p:sp>
      <p:sp>
        <p:nvSpPr>
          <p:cNvPr id="17" name="Рисунок 8"/>
          <p:cNvSpPr>
            <a:spLocks noGrp="1"/>
          </p:cNvSpPr>
          <p:nvPr>
            <p:ph type="pic" sz="quarter" idx="16"/>
          </p:nvPr>
        </p:nvSpPr>
        <p:spPr>
          <a:xfrm>
            <a:off x="6472237" y="2282823"/>
            <a:ext cx="765175" cy="765177"/>
          </a:xfrm>
          <a:custGeom>
            <a:avLst/>
            <a:gdLst>
              <a:gd name="connsiteX0" fmla="*/ 0 w 6402324"/>
              <a:gd name="connsiteY0" fmla="*/ 6858000 h 6858000"/>
              <a:gd name="connsiteX1" fmla="*/ 1600581 w 6402324"/>
              <a:gd name="connsiteY1" fmla="*/ 0 h 6858000"/>
              <a:gd name="connsiteX2" fmla="*/ 6402324 w 6402324"/>
              <a:gd name="connsiteY2" fmla="*/ 0 h 6858000"/>
              <a:gd name="connsiteX3" fmla="*/ 4801743 w 6402324"/>
              <a:gd name="connsiteY3" fmla="*/ 6858000 h 6858000"/>
              <a:gd name="connsiteX4" fmla="*/ 0 w 6402324"/>
              <a:gd name="connsiteY4" fmla="*/ 6858000 h 6858000"/>
              <a:gd name="connsiteX0" fmla="*/ 0 w 6402324"/>
              <a:gd name="connsiteY0" fmla="*/ 6858000 h 6858000"/>
              <a:gd name="connsiteX1" fmla="*/ 381 w 6402324"/>
              <a:gd name="connsiteY1" fmla="*/ 0 h 6858000"/>
              <a:gd name="connsiteX2" fmla="*/ 6402324 w 6402324"/>
              <a:gd name="connsiteY2" fmla="*/ 0 h 6858000"/>
              <a:gd name="connsiteX3" fmla="*/ 4801743 w 6402324"/>
              <a:gd name="connsiteY3" fmla="*/ 6858000 h 6858000"/>
              <a:gd name="connsiteX4" fmla="*/ 0 w 6402324"/>
              <a:gd name="connsiteY4" fmla="*/ 6858000 h 6858000"/>
              <a:gd name="connsiteX0" fmla="*/ 0 w 8908457"/>
              <a:gd name="connsiteY0" fmla="*/ 6858000 h 6858000"/>
              <a:gd name="connsiteX1" fmla="*/ 381 w 8908457"/>
              <a:gd name="connsiteY1" fmla="*/ 0 h 6858000"/>
              <a:gd name="connsiteX2" fmla="*/ 8908457 w 8908457"/>
              <a:gd name="connsiteY2" fmla="*/ 0 h 6858000"/>
              <a:gd name="connsiteX3" fmla="*/ 4801743 w 8908457"/>
              <a:gd name="connsiteY3" fmla="*/ 6858000 h 6858000"/>
              <a:gd name="connsiteX4" fmla="*/ 0 w 8908457"/>
              <a:gd name="connsiteY4" fmla="*/ 6858000 h 6858000"/>
              <a:gd name="connsiteX0" fmla="*/ 0 w 8908457"/>
              <a:gd name="connsiteY0" fmla="*/ 6858000 h 6866467"/>
              <a:gd name="connsiteX1" fmla="*/ 381 w 8908457"/>
              <a:gd name="connsiteY1" fmla="*/ 0 h 6866467"/>
              <a:gd name="connsiteX2" fmla="*/ 8908457 w 8908457"/>
              <a:gd name="connsiteY2" fmla="*/ 0 h 6866467"/>
              <a:gd name="connsiteX3" fmla="*/ 6393476 w 8908457"/>
              <a:gd name="connsiteY3" fmla="*/ 6866467 h 6866467"/>
              <a:gd name="connsiteX4" fmla="*/ 0 w 8908457"/>
              <a:gd name="connsiteY4" fmla="*/ 6858000 h 6866467"/>
              <a:gd name="connsiteX0" fmla="*/ 0 w 8908457"/>
              <a:gd name="connsiteY0" fmla="*/ 6858000 h 6917267"/>
              <a:gd name="connsiteX1" fmla="*/ 381 w 8908457"/>
              <a:gd name="connsiteY1" fmla="*/ 0 h 6917267"/>
              <a:gd name="connsiteX2" fmla="*/ 8908457 w 8908457"/>
              <a:gd name="connsiteY2" fmla="*/ 0 h 6917267"/>
              <a:gd name="connsiteX3" fmla="*/ 6393476 w 8908457"/>
              <a:gd name="connsiteY3" fmla="*/ 6917267 h 6917267"/>
              <a:gd name="connsiteX4" fmla="*/ 0 w 8908457"/>
              <a:gd name="connsiteY4" fmla="*/ 6858000 h 6917267"/>
              <a:gd name="connsiteX0" fmla="*/ 0 w 8908457"/>
              <a:gd name="connsiteY0" fmla="*/ 6858000 h 6858000"/>
              <a:gd name="connsiteX1" fmla="*/ 381 w 8908457"/>
              <a:gd name="connsiteY1" fmla="*/ 0 h 6858000"/>
              <a:gd name="connsiteX2" fmla="*/ 8908457 w 8908457"/>
              <a:gd name="connsiteY2" fmla="*/ 0 h 6858000"/>
              <a:gd name="connsiteX3" fmla="*/ 6385010 w 8908457"/>
              <a:gd name="connsiteY3" fmla="*/ 6858000 h 6858000"/>
              <a:gd name="connsiteX4" fmla="*/ 0 w 8908457"/>
              <a:gd name="connsiteY4" fmla="*/ 6858000 h 6858000"/>
              <a:gd name="connsiteX0" fmla="*/ 0 w 8823790"/>
              <a:gd name="connsiteY0" fmla="*/ 6858000 h 6858000"/>
              <a:gd name="connsiteX1" fmla="*/ 381 w 8823790"/>
              <a:gd name="connsiteY1" fmla="*/ 0 h 6858000"/>
              <a:gd name="connsiteX2" fmla="*/ 8823790 w 8823790"/>
              <a:gd name="connsiteY2" fmla="*/ 8467 h 6858000"/>
              <a:gd name="connsiteX3" fmla="*/ 6385010 w 8823790"/>
              <a:gd name="connsiteY3" fmla="*/ 6858000 h 6858000"/>
              <a:gd name="connsiteX4" fmla="*/ 0 w 8823790"/>
              <a:gd name="connsiteY4" fmla="*/ 6858000 h 6858000"/>
              <a:gd name="connsiteX0" fmla="*/ 0 w 8874590"/>
              <a:gd name="connsiteY0" fmla="*/ 6858000 h 6858000"/>
              <a:gd name="connsiteX1" fmla="*/ 381 w 8874590"/>
              <a:gd name="connsiteY1" fmla="*/ 0 h 6858000"/>
              <a:gd name="connsiteX2" fmla="*/ 8874590 w 8874590"/>
              <a:gd name="connsiteY2" fmla="*/ 8467 h 6858000"/>
              <a:gd name="connsiteX3" fmla="*/ 6385010 w 8874590"/>
              <a:gd name="connsiteY3" fmla="*/ 6858000 h 6858000"/>
              <a:gd name="connsiteX4" fmla="*/ 0 w 8874590"/>
              <a:gd name="connsiteY4" fmla="*/ 6858000 h 6858000"/>
              <a:gd name="connsiteX0" fmla="*/ 0 w 8849190"/>
              <a:gd name="connsiteY0" fmla="*/ 6858000 h 6858000"/>
              <a:gd name="connsiteX1" fmla="*/ 381 w 8849190"/>
              <a:gd name="connsiteY1" fmla="*/ 0 h 6858000"/>
              <a:gd name="connsiteX2" fmla="*/ 8849190 w 8849190"/>
              <a:gd name="connsiteY2" fmla="*/ 16934 h 6858000"/>
              <a:gd name="connsiteX3" fmla="*/ 6385010 w 8849190"/>
              <a:gd name="connsiteY3" fmla="*/ 6858000 h 6858000"/>
              <a:gd name="connsiteX4" fmla="*/ 0 w 8849190"/>
              <a:gd name="connsiteY4" fmla="*/ 6858000 h 6858000"/>
              <a:gd name="connsiteX0" fmla="*/ 0 w 8586723"/>
              <a:gd name="connsiteY0" fmla="*/ 6858000 h 6858000"/>
              <a:gd name="connsiteX1" fmla="*/ 381 w 8586723"/>
              <a:gd name="connsiteY1" fmla="*/ 0 h 6858000"/>
              <a:gd name="connsiteX2" fmla="*/ 8586723 w 8586723"/>
              <a:gd name="connsiteY2" fmla="*/ 1 h 6858000"/>
              <a:gd name="connsiteX3" fmla="*/ 6385010 w 8586723"/>
              <a:gd name="connsiteY3" fmla="*/ 6858000 h 6858000"/>
              <a:gd name="connsiteX4" fmla="*/ 0 w 8586723"/>
              <a:gd name="connsiteY4" fmla="*/ 6858000 h 6858000"/>
              <a:gd name="connsiteX0" fmla="*/ 0 w 8874589"/>
              <a:gd name="connsiteY0" fmla="*/ 6858000 h 6858000"/>
              <a:gd name="connsiteX1" fmla="*/ 381 w 8874589"/>
              <a:gd name="connsiteY1" fmla="*/ 0 h 6858000"/>
              <a:gd name="connsiteX2" fmla="*/ 8874589 w 8874589"/>
              <a:gd name="connsiteY2" fmla="*/ 8468 h 6858000"/>
              <a:gd name="connsiteX3" fmla="*/ 6385010 w 8874589"/>
              <a:gd name="connsiteY3" fmla="*/ 6858000 h 6858000"/>
              <a:gd name="connsiteX4" fmla="*/ 0 w 8874589"/>
              <a:gd name="connsiteY4" fmla="*/ 6858000 h 6858000"/>
              <a:gd name="connsiteX0" fmla="*/ 0 w 8823789"/>
              <a:gd name="connsiteY0" fmla="*/ 6858000 h 6858000"/>
              <a:gd name="connsiteX1" fmla="*/ 381 w 8823789"/>
              <a:gd name="connsiteY1" fmla="*/ 0 h 6858000"/>
              <a:gd name="connsiteX2" fmla="*/ 8823789 w 8823789"/>
              <a:gd name="connsiteY2" fmla="*/ 16934 h 6858000"/>
              <a:gd name="connsiteX3" fmla="*/ 6385010 w 8823789"/>
              <a:gd name="connsiteY3" fmla="*/ 6858000 h 6858000"/>
              <a:gd name="connsiteX4" fmla="*/ 0 w 8823789"/>
              <a:gd name="connsiteY4" fmla="*/ 6858000 h 6858000"/>
              <a:gd name="connsiteX0" fmla="*/ 0 w 8883055"/>
              <a:gd name="connsiteY0" fmla="*/ 6858000 h 6858000"/>
              <a:gd name="connsiteX1" fmla="*/ 381 w 8883055"/>
              <a:gd name="connsiteY1" fmla="*/ 0 h 6858000"/>
              <a:gd name="connsiteX2" fmla="*/ 8883055 w 8883055"/>
              <a:gd name="connsiteY2" fmla="*/ 8467 h 6858000"/>
              <a:gd name="connsiteX3" fmla="*/ 6385010 w 8883055"/>
              <a:gd name="connsiteY3" fmla="*/ 6858000 h 6858000"/>
              <a:gd name="connsiteX4" fmla="*/ 0 w 8883055"/>
              <a:gd name="connsiteY4" fmla="*/ 6858000 h 6858000"/>
              <a:gd name="connsiteX0" fmla="*/ 0 w 8891522"/>
              <a:gd name="connsiteY0" fmla="*/ 6900333 h 6900333"/>
              <a:gd name="connsiteX1" fmla="*/ 381 w 8891522"/>
              <a:gd name="connsiteY1" fmla="*/ 42333 h 6900333"/>
              <a:gd name="connsiteX2" fmla="*/ 8891522 w 8891522"/>
              <a:gd name="connsiteY2" fmla="*/ 0 h 6900333"/>
              <a:gd name="connsiteX3" fmla="*/ 6385010 w 8891522"/>
              <a:gd name="connsiteY3" fmla="*/ 6900333 h 6900333"/>
              <a:gd name="connsiteX4" fmla="*/ 0 w 8891522"/>
              <a:gd name="connsiteY4" fmla="*/ 6900333 h 6900333"/>
              <a:gd name="connsiteX0" fmla="*/ 0 w 8891522"/>
              <a:gd name="connsiteY0" fmla="*/ 6858000 h 6858000"/>
              <a:gd name="connsiteX1" fmla="*/ 381 w 8891522"/>
              <a:gd name="connsiteY1" fmla="*/ 0 h 6858000"/>
              <a:gd name="connsiteX2" fmla="*/ 8891522 w 8891522"/>
              <a:gd name="connsiteY2" fmla="*/ 1 h 6858000"/>
              <a:gd name="connsiteX3" fmla="*/ 6385010 w 8891522"/>
              <a:gd name="connsiteY3" fmla="*/ 6858000 h 6858000"/>
              <a:gd name="connsiteX4" fmla="*/ 0 w 8891522"/>
              <a:gd name="connsiteY4" fmla="*/ 6858000 h 6858000"/>
              <a:gd name="connsiteX0" fmla="*/ 0 w 12200848"/>
              <a:gd name="connsiteY0" fmla="*/ 6858000 h 6858000"/>
              <a:gd name="connsiteX1" fmla="*/ 12200848 w 12200848"/>
              <a:gd name="connsiteY1" fmla="*/ 0 h 6858000"/>
              <a:gd name="connsiteX2" fmla="*/ 8891522 w 12200848"/>
              <a:gd name="connsiteY2" fmla="*/ 1 h 6858000"/>
              <a:gd name="connsiteX3" fmla="*/ 6385010 w 12200848"/>
              <a:gd name="connsiteY3" fmla="*/ 6858000 h 6858000"/>
              <a:gd name="connsiteX4" fmla="*/ 0 w 12200848"/>
              <a:gd name="connsiteY4" fmla="*/ 6858000 h 6858000"/>
              <a:gd name="connsiteX0" fmla="*/ 5823923 w 5823923"/>
              <a:gd name="connsiteY0" fmla="*/ 6858000 h 6858000"/>
              <a:gd name="connsiteX1" fmla="*/ 5815838 w 5823923"/>
              <a:gd name="connsiteY1" fmla="*/ 0 h 6858000"/>
              <a:gd name="connsiteX2" fmla="*/ 2506512 w 5823923"/>
              <a:gd name="connsiteY2" fmla="*/ 1 h 6858000"/>
              <a:gd name="connsiteX3" fmla="*/ 0 w 5823923"/>
              <a:gd name="connsiteY3" fmla="*/ 6858000 h 6858000"/>
              <a:gd name="connsiteX4" fmla="*/ 5823923 w 5823923"/>
              <a:gd name="connsiteY4" fmla="*/ 6858000 h 6858000"/>
              <a:gd name="connsiteX0" fmla="*/ 5900123 w 5900123"/>
              <a:gd name="connsiteY0" fmla="*/ 6874933 h 6874933"/>
              <a:gd name="connsiteX1" fmla="*/ 5815838 w 5900123"/>
              <a:gd name="connsiteY1" fmla="*/ 0 h 6874933"/>
              <a:gd name="connsiteX2" fmla="*/ 2506512 w 5900123"/>
              <a:gd name="connsiteY2" fmla="*/ 1 h 6874933"/>
              <a:gd name="connsiteX3" fmla="*/ 0 w 5900123"/>
              <a:gd name="connsiteY3" fmla="*/ 6858000 h 6874933"/>
              <a:gd name="connsiteX4" fmla="*/ 5900123 w 5900123"/>
              <a:gd name="connsiteY4" fmla="*/ 6874933 h 6874933"/>
              <a:gd name="connsiteX0" fmla="*/ 5815456 w 5815838"/>
              <a:gd name="connsiteY0" fmla="*/ 6866467 h 6866467"/>
              <a:gd name="connsiteX1" fmla="*/ 5815838 w 5815838"/>
              <a:gd name="connsiteY1" fmla="*/ 0 h 6866467"/>
              <a:gd name="connsiteX2" fmla="*/ 2506512 w 5815838"/>
              <a:gd name="connsiteY2" fmla="*/ 1 h 6866467"/>
              <a:gd name="connsiteX3" fmla="*/ 0 w 5815838"/>
              <a:gd name="connsiteY3" fmla="*/ 6858000 h 6866467"/>
              <a:gd name="connsiteX4" fmla="*/ 5815456 w 5815838"/>
              <a:gd name="connsiteY4" fmla="*/ 6866467 h 6866467"/>
              <a:gd name="connsiteX0" fmla="*/ 5815456 w 5815838"/>
              <a:gd name="connsiteY0" fmla="*/ 7001934 h 7001934"/>
              <a:gd name="connsiteX1" fmla="*/ 5815838 w 5815838"/>
              <a:gd name="connsiteY1" fmla="*/ 0 h 7001934"/>
              <a:gd name="connsiteX2" fmla="*/ 2506512 w 5815838"/>
              <a:gd name="connsiteY2" fmla="*/ 1 h 7001934"/>
              <a:gd name="connsiteX3" fmla="*/ 0 w 5815838"/>
              <a:gd name="connsiteY3" fmla="*/ 6858000 h 7001934"/>
              <a:gd name="connsiteX4" fmla="*/ 5815456 w 5815838"/>
              <a:gd name="connsiteY4" fmla="*/ 7001934 h 7001934"/>
              <a:gd name="connsiteX0" fmla="*/ 5823922 w 5823923"/>
              <a:gd name="connsiteY0" fmla="*/ 6858001 h 6858001"/>
              <a:gd name="connsiteX1" fmla="*/ 5815838 w 5823923"/>
              <a:gd name="connsiteY1" fmla="*/ 0 h 6858001"/>
              <a:gd name="connsiteX2" fmla="*/ 2506512 w 5823923"/>
              <a:gd name="connsiteY2" fmla="*/ 1 h 6858001"/>
              <a:gd name="connsiteX3" fmla="*/ 0 w 5823923"/>
              <a:gd name="connsiteY3" fmla="*/ 6858000 h 6858001"/>
              <a:gd name="connsiteX4" fmla="*/ 5823922 w 5823923"/>
              <a:gd name="connsiteY4" fmla="*/ 6858001 h 6858001"/>
              <a:gd name="connsiteX0" fmla="*/ 5942455 w 5942455"/>
              <a:gd name="connsiteY0" fmla="*/ 6866468 h 6866468"/>
              <a:gd name="connsiteX1" fmla="*/ 5815838 w 5942455"/>
              <a:gd name="connsiteY1" fmla="*/ 0 h 6866468"/>
              <a:gd name="connsiteX2" fmla="*/ 2506512 w 5942455"/>
              <a:gd name="connsiteY2" fmla="*/ 1 h 6866468"/>
              <a:gd name="connsiteX3" fmla="*/ 0 w 5942455"/>
              <a:gd name="connsiteY3" fmla="*/ 6858000 h 6866468"/>
              <a:gd name="connsiteX4" fmla="*/ 5942455 w 5942455"/>
              <a:gd name="connsiteY4" fmla="*/ 6866468 h 6866468"/>
              <a:gd name="connsiteX0" fmla="*/ 5806988 w 5815838"/>
              <a:gd name="connsiteY0" fmla="*/ 6874935 h 6874935"/>
              <a:gd name="connsiteX1" fmla="*/ 5815838 w 5815838"/>
              <a:gd name="connsiteY1" fmla="*/ 0 h 6874935"/>
              <a:gd name="connsiteX2" fmla="*/ 2506512 w 5815838"/>
              <a:gd name="connsiteY2" fmla="*/ 1 h 6874935"/>
              <a:gd name="connsiteX3" fmla="*/ 0 w 5815838"/>
              <a:gd name="connsiteY3" fmla="*/ 6858000 h 6874935"/>
              <a:gd name="connsiteX4" fmla="*/ 5806988 w 5815838"/>
              <a:gd name="connsiteY4" fmla="*/ 6874935 h 6874935"/>
              <a:gd name="connsiteX0" fmla="*/ 5806988 w 6958838"/>
              <a:gd name="connsiteY0" fmla="*/ 6874934 h 6874934"/>
              <a:gd name="connsiteX1" fmla="*/ 6958838 w 6958838"/>
              <a:gd name="connsiteY1" fmla="*/ 8466 h 6874934"/>
              <a:gd name="connsiteX2" fmla="*/ 2506512 w 6958838"/>
              <a:gd name="connsiteY2" fmla="*/ 0 h 6874934"/>
              <a:gd name="connsiteX3" fmla="*/ 0 w 6958838"/>
              <a:gd name="connsiteY3" fmla="*/ 6857999 h 6874934"/>
              <a:gd name="connsiteX4" fmla="*/ 5806988 w 6958838"/>
              <a:gd name="connsiteY4" fmla="*/ 6874934 h 6874934"/>
              <a:gd name="connsiteX0" fmla="*/ 6958455 w 6958838"/>
              <a:gd name="connsiteY0" fmla="*/ 6858001 h 6858001"/>
              <a:gd name="connsiteX1" fmla="*/ 6958838 w 6958838"/>
              <a:gd name="connsiteY1" fmla="*/ 8466 h 6858001"/>
              <a:gd name="connsiteX2" fmla="*/ 2506512 w 6958838"/>
              <a:gd name="connsiteY2" fmla="*/ 0 h 6858001"/>
              <a:gd name="connsiteX3" fmla="*/ 0 w 6958838"/>
              <a:gd name="connsiteY3" fmla="*/ 6857999 h 6858001"/>
              <a:gd name="connsiteX4" fmla="*/ 6958455 w 6958838"/>
              <a:gd name="connsiteY4" fmla="*/ 6858001 h 6858001"/>
              <a:gd name="connsiteX0" fmla="*/ 6958455 w 6967305"/>
              <a:gd name="connsiteY0" fmla="*/ 6858001 h 6858001"/>
              <a:gd name="connsiteX1" fmla="*/ 6967305 w 6967305"/>
              <a:gd name="connsiteY1" fmla="*/ 126999 h 6858001"/>
              <a:gd name="connsiteX2" fmla="*/ 2506512 w 6967305"/>
              <a:gd name="connsiteY2" fmla="*/ 0 h 6858001"/>
              <a:gd name="connsiteX3" fmla="*/ 0 w 6967305"/>
              <a:gd name="connsiteY3" fmla="*/ 6857999 h 6858001"/>
              <a:gd name="connsiteX4" fmla="*/ 6958455 w 6967305"/>
              <a:gd name="connsiteY4" fmla="*/ 6858001 h 6858001"/>
              <a:gd name="connsiteX0" fmla="*/ 6958455 w 6967305"/>
              <a:gd name="connsiteY0" fmla="*/ 6866469 h 6866469"/>
              <a:gd name="connsiteX1" fmla="*/ 6967305 w 6967305"/>
              <a:gd name="connsiteY1" fmla="*/ 0 h 6866469"/>
              <a:gd name="connsiteX2" fmla="*/ 2506512 w 6967305"/>
              <a:gd name="connsiteY2" fmla="*/ 8468 h 6866469"/>
              <a:gd name="connsiteX3" fmla="*/ 0 w 6967305"/>
              <a:gd name="connsiteY3" fmla="*/ 6866467 h 6866469"/>
              <a:gd name="connsiteX4" fmla="*/ 6958455 w 6967305"/>
              <a:gd name="connsiteY4" fmla="*/ 6866469 h 6866469"/>
              <a:gd name="connsiteX0" fmla="*/ 7102388 w 7102388"/>
              <a:gd name="connsiteY0" fmla="*/ 6858002 h 6866467"/>
              <a:gd name="connsiteX1" fmla="*/ 6967305 w 7102388"/>
              <a:gd name="connsiteY1" fmla="*/ 0 h 6866467"/>
              <a:gd name="connsiteX2" fmla="*/ 2506512 w 7102388"/>
              <a:gd name="connsiteY2" fmla="*/ 8468 h 6866467"/>
              <a:gd name="connsiteX3" fmla="*/ 0 w 7102388"/>
              <a:gd name="connsiteY3" fmla="*/ 6866467 h 6866467"/>
              <a:gd name="connsiteX4" fmla="*/ 7102388 w 7102388"/>
              <a:gd name="connsiteY4" fmla="*/ 6858002 h 6866467"/>
              <a:gd name="connsiteX0" fmla="*/ 6966921 w 6967305"/>
              <a:gd name="connsiteY0" fmla="*/ 6874935 h 6874935"/>
              <a:gd name="connsiteX1" fmla="*/ 6967305 w 6967305"/>
              <a:gd name="connsiteY1" fmla="*/ 0 h 6874935"/>
              <a:gd name="connsiteX2" fmla="*/ 2506512 w 6967305"/>
              <a:gd name="connsiteY2" fmla="*/ 8468 h 6874935"/>
              <a:gd name="connsiteX3" fmla="*/ 0 w 6967305"/>
              <a:gd name="connsiteY3" fmla="*/ 6866467 h 6874935"/>
              <a:gd name="connsiteX4" fmla="*/ 6966921 w 6967305"/>
              <a:gd name="connsiteY4" fmla="*/ 6874935 h 6874935"/>
              <a:gd name="connsiteX0" fmla="*/ 6983855 w 6983855"/>
              <a:gd name="connsiteY0" fmla="*/ 6968068 h 6968068"/>
              <a:gd name="connsiteX1" fmla="*/ 6967305 w 6983855"/>
              <a:gd name="connsiteY1" fmla="*/ 0 h 6968068"/>
              <a:gd name="connsiteX2" fmla="*/ 2506512 w 6983855"/>
              <a:gd name="connsiteY2" fmla="*/ 8468 h 6968068"/>
              <a:gd name="connsiteX3" fmla="*/ 0 w 6983855"/>
              <a:gd name="connsiteY3" fmla="*/ 6866467 h 6968068"/>
              <a:gd name="connsiteX4" fmla="*/ 6983855 w 6983855"/>
              <a:gd name="connsiteY4" fmla="*/ 6968068 h 6968068"/>
              <a:gd name="connsiteX0" fmla="*/ 6966921 w 6967305"/>
              <a:gd name="connsiteY0" fmla="*/ 6874934 h 6874934"/>
              <a:gd name="connsiteX1" fmla="*/ 6967305 w 6967305"/>
              <a:gd name="connsiteY1" fmla="*/ 0 h 6874934"/>
              <a:gd name="connsiteX2" fmla="*/ 2506512 w 6967305"/>
              <a:gd name="connsiteY2" fmla="*/ 8468 h 6874934"/>
              <a:gd name="connsiteX3" fmla="*/ 0 w 6967305"/>
              <a:gd name="connsiteY3" fmla="*/ 6866467 h 6874934"/>
              <a:gd name="connsiteX4" fmla="*/ 6966921 w 6967305"/>
              <a:gd name="connsiteY4" fmla="*/ 6874934 h 6874934"/>
              <a:gd name="connsiteX0" fmla="*/ 6966921 w 6966921"/>
              <a:gd name="connsiteY0" fmla="*/ 6866467 h 6866467"/>
              <a:gd name="connsiteX1" fmla="*/ 6120638 w 6966921"/>
              <a:gd name="connsiteY1" fmla="*/ 0 h 6866467"/>
              <a:gd name="connsiteX2" fmla="*/ 2506512 w 6966921"/>
              <a:gd name="connsiteY2" fmla="*/ 1 h 6866467"/>
              <a:gd name="connsiteX3" fmla="*/ 0 w 6966921"/>
              <a:gd name="connsiteY3" fmla="*/ 6858000 h 6866467"/>
              <a:gd name="connsiteX4" fmla="*/ 6966921 w 6966921"/>
              <a:gd name="connsiteY4" fmla="*/ 6866467 h 6866467"/>
              <a:gd name="connsiteX0" fmla="*/ 6120255 w 6120638"/>
              <a:gd name="connsiteY0" fmla="*/ 6858001 h 6858001"/>
              <a:gd name="connsiteX1" fmla="*/ 6120638 w 6120638"/>
              <a:gd name="connsiteY1" fmla="*/ 0 h 6858001"/>
              <a:gd name="connsiteX2" fmla="*/ 2506512 w 6120638"/>
              <a:gd name="connsiteY2" fmla="*/ 1 h 6858001"/>
              <a:gd name="connsiteX3" fmla="*/ 0 w 6120638"/>
              <a:gd name="connsiteY3" fmla="*/ 6858000 h 6858001"/>
              <a:gd name="connsiteX4" fmla="*/ 6120255 w 6120638"/>
              <a:gd name="connsiteY4" fmla="*/ 6858001 h 6858001"/>
              <a:gd name="connsiteX0" fmla="*/ 6120255 w 6120638"/>
              <a:gd name="connsiteY0" fmla="*/ 6858001 h 6858001"/>
              <a:gd name="connsiteX1" fmla="*/ 6120638 w 6120638"/>
              <a:gd name="connsiteY1" fmla="*/ 0 h 6858001"/>
              <a:gd name="connsiteX2" fmla="*/ 33475 w 6120638"/>
              <a:gd name="connsiteY2" fmla="*/ 41565 h 6858001"/>
              <a:gd name="connsiteX3" fmla="*/ 0 w 6120638"/>
              <a:gd name="connsiteY3" fmla="*/ 6858000 h 6858001"/>
              <a:gd name="connsiteX4" fmla="*/ 6120255 w 6120638"/>
              <a:gd name="connsiteY4" fmla="*/ 6858001 h 6858001"/>
              <a:gd name="connsiteX0" fmla="*/ 6086780 w 6087163"/>
              <a:gd name="connsiteY0" fmla="*/ 6858001 h 6868391"/>
              <a:gd name="connsiteX1" fmla="*/ 6087163 w 6087163"/>
              <a:gd name="connsiteY1" fmla="*/ 0 h 6868391"/>
              <a:gd name="connsiteX2" fmla="*/ 0 w 6087163"/>
              <a:gd name="connsiteY2" fmla="*/ 41565 h 6868391"/>
              <a:gd name="connsiteX3" fmla="*/ 195125 w 6087163"/>
              <a:gd name="connsiteY3" fmla="*/ 6868391 h 6868391"/>
              <a:gd name="connsiteX4" fmla="*/ 6086780 w 6087163"/>
              <a:gd name="connsiteY4" fmla="*/ 6858001 h 6868391"/>
              <a:gd name="connsiteX0" fmla="*/ 6086780 w 6087163"/>
              <a:gd name="connsiteY0" fmla="*/ 6858001 h 6868391"/>
              <a:gd name="connsiteX1" fmla="*/ 6087163 w 6087163"/>
              <a:gd name="connsiteY1" fmla="*/ 0 h 6868391"/>
              <a:gd name="connsiteX2" fmla="*/ 0 w 6087163"/>
              <a:gd name="connsiteY2" fmla="*/ 41565 h 6868391"/>
              <a:gd name="connsiteX3" fmla="*/ 8088 w 6087163"/>
              <a:gd name="connsiteY3" fmla="*/ 6868391 h 6868391"/>
              <a:gd name="connsiteX4" fmla="*/ 6086780 w 6087163"/>
              <a:gd name="connsiteY4" fmla="*/ 6858001 h 6868391"/>
              <a:gd name="connsiteX0" fmla="*/ 6086780 w 6087163"/>
              <a:gd name="connsiteY0" fmla="*/ 6858001 h 6868391"/>
              <a:gd name="connsiteX1" fmla="*/ 6087163 w 6087163"/>
              <a:gd name="connsiteY1" fmla="*/ 0 h 6868391"/>
              <a:gd name="connsiteX2" fmla="*/ 0 w 6087163"/>
              <a:gd name="connsiteY2" fmla="*/ 10392 h 6868391"/>
              <a:gd name="connsiteX3" fmla="*/ 8088 w 6087163"/>
              <a:gd name="connsiteY3" fmla="*/ 6868391 h 6868391"/>
              <a:gd name="connsiteX4" fmla="*/ 6086780 w 6087163"/>
              <a:gd name="connsiteY4" fmla="*/ 6858001 h 6868391"/>
              <a:gd name="connsiteX0" fmla="*/ 6086780 w 6087163"/>
              <a:gd name="connsiteY0" fmla="*/ 6858001 h 6868391"/>
              <a:gd name="connsiteX1" fmla="*/ 6087163 w 6087163"/>
              <a:gd name="connsiteY1" fmla="*/ 0 h 6868391"/>
              <a:gd name="connsiteX2" fmla="*/ 0 w 6087163"/>
              <a:gd name="connsiteY2" fmla="*/ 1 h 6868391"/>
              <a:gd name="connsiteX3" fmla="*/ 8088 w 6087163"/>
              <a:gd name="connsiteY3" fmla="*/ 6868391 h 6868391"/>
              <a:gd name="connsiteX4" fmla="*/ 6086780 w 6087163"/>
              <a:gd name="connsiteY4" fmla="*/ 6858001 h 68683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87163" h="6868391">
                <a:moveTo>
                  <a:pt x="6086780" y="6858001"/>
                </a:moveTo>
                <a:cubicBezTo>
                  <a:pt x="6086907" y="4569179"/>
                  <a:pt x="6087036" y="2288822"/>
                  <a:pt x="6087163" y="0"/>
                </a:cubicBezTo>
                <a:lnTo>
                  <a:pt x="0" y="1"/>
                </a:lnTo>
                <a:lnTo>
                  <a:pt x="8088" y="6868391"/>
                </a:lnTo>
                <a:lnTo>
                  <a:pt x="6086780" y="6858001"/>
                </a:lnTo>
                <a:close/>
              </a:path>
            </a:pathLst>
          </a:custGeom>
        </p:spPr>
        <p:txBody>
          <a:bodyPr rtlCol="0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ru-RU" noProof="0" dirty="0"/>
          </a:p>
        </p:txBody>
      </p:sp>
      <p:sp>
        <p:nvSpPr>
          <p:cNvPr id="10" name="Нижний колонтитул 4">
            <a:extLst>
              <a:ext uri="{FF2B5EF4-FFF2-40B4-BE49-F238E27FC236}">
                <a16:creationId xmlns:a16="http://schemas.microsoft.com/office/drawing/2014/main" id="{DB1BDD3C-4007-6F47-A072-5AE6B8EAF78C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758825" y="6573838"/>
            <a:ext cx="4114800" cy="200025"/>
          </a:xfrm>
        </p:spPr>
        <p:txBody>
          <a:bodyPr/>
          <a:lstStyle>
            <a:lvl1pPr>
              <a:defRPr sz="100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r>
              <a:rPr lang="ru-RU"/>
              <a:t>Нижний </a:t>
            </a:r>
            <a:r>
              <a:rPr lang="ru-RU" err="1"/>
              <a:t>коллонтитул</a:t>
            </a:r>
            <a:endParaRPr lang="ru-RU"/>
          </a:p>
        </p:txBody>
      </p:sp>
      <p:sp>
        <p:nvSpPr>
          <p:cNvPr id="11" name="Номер слайда 5">
            <a:extLst>
              <a:ext uri="{FF2B5EF4-FFF2-40B4-BE49-F238E27FC236}">
                <a16:creationId xmlns:a16="http://schemas.microsoft.com/office/drawing/2014/main" id="{38B3F488-2194-2142-B865-4A4DE7EB12E3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11044238" y="6573838"/>
            <a:ext cx="765175" cy="153987"/>
          </a:xfrm>
        </p:spPr>
        <p:txBody>
          <a:bodyPr/>
          <a:lstStyle>
            <a:lvl1pPr algn="r">
              <a:defRPr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E5B371FA-9485-0347-89F6-23F6317FCADF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79210064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лайд с фотоизображение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6">
            <a:extLst>
              <a:ext uri="{FF2B5EF4-FFF2-40B4-BE49-F238E27FC236}">
                <a16:creationId xmlns:a16="http://schemas.microsoft.com/office/drawing/2014/main" id="{74123CFB-3997-D74A-B5FB-E107EE8666B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88" y="0"/>
            <a:ext cx="381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Рисунок 8"/>
          <p:cNvSpPr>
            <a:spLocks noGrp="1"/>
          </p:cNvSpPr>
          <p:nvPr>
            <p:ph type="pic" sz="quarter" idx="16"/>
          </p:nvPr>
        </p:nvSpPr>
        <p:spPr>
          <a:xfrm>
            <a:off x="382588" y="0"/>
            <a:ext cx="11809413" cy="6858000"/>
          </a:xfrm>
          <a:custGeom>
            <a:avLst/>
            <a:gdLst>
              <a:gd name="connsiteX0" fmla="*/ 0 w 6402324"/>
              <a:gd name="connsiteY0" fmla="*/ 6858000 h 6858000"/>
              <a:gd name="connsiteX1" fmla="*/ 1600581 w 6402324"/>
              <a:gd name="connsiteY1" fmla="*/ 0 h 6858000"/>
              <a:gd name="connsiteX2" fmla="*/ 6402324 w 6402324"/>
              <a:gd name="connsiteY2" fmla="*/ 0 h 6858000"/>
              <a:gd name="connsiteX3" fmla="*/ 4801743 w 6402324"/>
              <a:gd name="connsiteY3" fmla="*/ 6858000 h 6858000"/>
              <a:gd name="connsiteX4" fmla="*/ 0 w 6402324"/>
              <a:gd name="connsiteY4" fmla="*/ 6858000 h 6858000"/>
              <a:gd name="connsiteX0" fmla="*/ 0 w 6402324"/>
              <a:gd name="connsiteY0" fmla="*/ 6858000 h 6858000"/>
              <a:gd name="connsiteX1" fmla="*/ 381 w 6402324"/>
              <a:gd name="connsiteY1" fmla="*/ 0 h 6858000"/>
              <a:gd name="connsiteX2" fmla="*/ 6402324 w 6402324"/>
              <a:gd name="connsiteY2" fmla="*/ 0 h 6858000"/>
              <a:gd name="connsiteX3" fmla="*/ 4801743 w 6402324"/>
              <a:gd name="connsiteY3" fmla="*/ 6858000 h 6858000"/>
              <a:gd name="connsiteX4" fmla="*/ 0 w 6402324"/>
              <a:gd name="connsiteY4" fmla="*/ 6858000 h 6858000"/>
              <a:gd name="connsiteX0" fmla="*/ 0 w 8908457"/>
              <a:gd name="connsiteY0" fmla="*/ 6858000 h 6858000"/>
              <a:gd name="connsiteX1" fmla="*/ 381 w 8908457"/>
              <a:gd name="connsiteY1" fmla="*/ 0 h 6858000"/>
              <a:gd name="connsiteX2" fmla="*/ 8908457 w 8908457"/>
              <a:gd name="connsiteY2" fmla="*/ 0 h 6858000"/>
              <a:gd name="connsiteX3" fmla="*/ 4801743 w 8908457"/>
              <a:gd name="connsiteY3" fmla="*/ 6858000 h 6858000"/>
              <a:gd name="connsiteX4" fmla="*/ 0 w 8908457"/>
              <a:gd name="connsiteY4" fmla="*/ 6858000 h 6858000"/>
              <a:gd name="connsiteX0" fmla="*/ 0 w 8908457"/>
              <a:gd name="connsiteY0" fmla="*/ 6858000 h 6866467"/>
              <a:gd name="connsiteX1" fmla="*/ 381 w 8908457"/>
              <a:gd name="connsiteY1" fmla="*/ 0 h 6866467"/>
              <a:gd name="connsiteX2" fmla="*/ 8908457 w 8908457"/>
              <a:gd name="connsiteY2" fmla="*/ 0 h 6866467"/>
              <a:gd name="connsiteX3" fmla="*/ 6393476 w 8908457"/>
              <a:gd name="connsiteY3" fmla="*/ 6866467 h 6866467"/>
              <a:gd name="connsiteX4" fmla="*/ 0 w 8908457"/>
              <a:gd name="connsiteY4" fmla="*/ 6858000 h 6866467"/>
              <a:gd name="connsiteX0" fmla="*/ 0 w 8908457"/>
              <a:gd name="connsiteY0" fmla="*/ 6858000 h 6917267"/>
              <a:gd name="connsiteX1" fmla="*/ 381 w 8908457"/>
              <a:gd name="connsiteY1" fmla="*/ 0 h 6917267"/>
              <a:gd name="connsiteX2" fmla="*/ 8908457 w 8908457"/>
              <a:gd name="connsiteY2" fmla="*/ 0 h 6917267"/>
              <a:gd name="connsiteX3" fmla="*/ 6393476 w 8908457"/>
              <a:gd name="connsiteY3" fmla="*/ 6917267 h 6917267"/>
              <a:gd name="connsiteX4" fmla="*/ 0 w 8908457"/>
              <a:gd name="connsiteY4" fmla="*/ 6858000 h 6917267"/>
              <a:gd name="connsiteX0" fmla="*/ 0 w 8908457"/>
              <a:gd name="connsiteY0" fmla="*/ 6858000 h 6858000"/>
              <a:gd name="connsiteX1" fmla="*/ 381 w 8908457"/>
              <a:gd name="connsiteY1" fmla="*/ 0 h 6858000"/>
              <a:gd name="connsiteX2" fmla="*/ 8908457 w 8908457"/>
              <a:gd name="connsiteY2" fmla="*/ 0 h 6858000"/>
              <a:gd name="connsiteX3" fmla="*/ 6385010 w 8908457"/>
              <a:gd name="connsiteY3" fmla="*/ 6858000 h 6858000"/>
              <a:gd name="connsiteX4" fmla="*/ 0 w 8908457"/>
              <a:gd name="connsiteY4" fmla="*/ 6858000 h 6858000"/>
              <a:gd name="connsiteX0" fmla="*/ 0 w 8823790"/>
              <a:gd name="connsiteY0" fmla="*/ 6858000 h 6858000"/>
              <a:gd name="connsiteX1" fmla="*/ 381 w 8823790"/>
              <a:gd name="connsiteY1" fmla="*/ 0 h 6858000"/>
              <a:gd name="connsiteX2" fmla="*/ 8823790 w 8823790"/>
              <a:gd name="connsiteY2" fmla="*/ 8467 h 6858000"/>
              <a:gd name="connsiteX3" fmla="*/ 6385010 w 8823790"/>
              <a:gd name="connsiteY3" fmla="*/ 6858000 h 6858000"/>
              <a:gd name="connsiteX4" fmla="*/ 0 w 8823790"/>
              <a:gd name="connsiteY4" fmla="*/ 6858000 h 6858000"/>
              <a:gd name="connsiteX0" fmla="*/ 0 w 8874590"/>
              <a:gd name="connsiteY0" fmla="*/ 6858000 h 6858000"/>
              <a:gd name="connsiteX1" fmla="*/ 381 w 8874590"/>
              <a:gd name="connsiteY1" fmla="*/ 0 h 6858000"/>
              <a:gd name="connsiteX2" fmla="*/ 8874590 w 8874590"/>
              <a:gd name="connsiteY2" fmla="*/ 8467 h 6858000"/>
              <a:gd name="connsiteX3" fmla="*/ 6385010 w 8874590"/>
              <a:gd name="connsiteY3" fmla="*/ 6858000 h 6858000"/>
              <a:gd name="connsiteX4" fmla="*/ 0 w 8874590"/>
              <a:gd name="connsiteY4" fmla="*/ 6858000 h 6858000"/>
              <a:gd name="connsiteX0" fmla="*/ 0 w 8849190"/>
              <a:gd name="connsiteY0" fmla="*/ 6858000 h 6858000"/>
              <a:gd name="connsiteX1" fmla="*/ 381 w 8849190"/>
              <a:gd name="connsiteY1" fmla="*/ 0 h 6858000"/>
              <a:gd name="connsiteX2" fmla="*/ 8849190 w 8849190"/>
              <a:gd name="connsiteY2" fmla="*/ 16934 h 6858000"/>
              <a:gd name="connsiteX3" fmla="*/ 6385010 w 8849190"/>
              <a:gd name="connsiteY3" fmla="*/ 6858000 h 6858000"/>
              <a:gd name="connsiteX4" fmla="*/ 0 w 8849190"/>
              <a:gd name="connsiteY4" fmla="*/ 6858000 h 6858000"/>
              <a:gd name="connsiteX0" fmla="*/ 0 w 8586723"/>
              <a:gd name="connsiteY0" fmla="*/ 6858000 h 6858000"/>
              <a:gd name="connsiteX1" fmla="*/ 381 w 8586723"/>
              <a:gd name="connsiteY1" fmla="*/ 0 h 6858000"/>
              <a:gd name="connsiteX2" fmla="*/ 8586723 w 8586723"/>
              <a:gd name="connsiteY2" fmla="*/ 1 h 6858000"/>
              <a:gd name="connsiteX3" fmla="*/ 6385010 w 8586723"/>
              <a:gd name="connsiteY3" fmla="*/ 6858000 h 6858000"/>
              <a:gd name="connsiteX4" fmla="*/ 0 w 8586723"/>
              <a:gd name="connsiteY4" fmla="*/ 6858000 h 6858000"/>
              <a:gd name="connsiteX0" fmla="*/ 0 w 8874589"/>
              <a:gd name="connsiteY0" fmla="*/ 6858000 h 6858000"/>
              <a:gd name="connsiteX1" fmla="*/ 381 w 8874589"/>
              <a:gd name="connsiteY1" fmla="*/ 0 h 6858000"/>
              <a:gd name="connsiteX2" fmla="*/ 8874589 w 8874589"/>
              <a:gd name="connsiteY2" fmla="*/ 8468 h 6858000"/>
              <a:gd name="connsiteX3" fmla="*/ 6385010 w 8874589"/>
              <a:gd name="connsiteY3" fmla="*/ 6858000 h 6858000"/>
              <a:gd name="connsiteX4" fmla="*/ 0 w 8874589"/>
              <a:gd name="connsiteY4" fmla="*/ 6858000 h 6858000"/>
              <a:gd name="connsiteX0" fmla="*/ 0 w 8823789"/>
              <a:gd name="connsiteY0" fmla="*/ 6858000 h 6858000"/>
              <a:gd name="connsiteX1" fmla="*/ 381 w 8823789"/>
              <a:gd name="connsiteY1" fmla="*/ 0 h 6858000"/>
              <a:gd name="connsiteX2" fmla="*/ 8823789 w 8823789"/>
              <a:gd name="connsiteY2" fmla="*/ 16934 h 6858000"/>
              <a:gd name="connsiteX3" fmla="*/ 6385010 w 8823789"/>
              <a:gd name="connsiteY3" fmla="*/ 6858000 h 6858000"/>
              <a:gd name="connsiteX4" fmla="*/ 0 w 8823789"/>
              <a:gd name="connsiteY4" fmla="*/ 6858000 h 6858000"/>
              <a:gd name="connsiteX0" fmla="*/ 0 w 8883055"/>
              <a:gd name="connsiteY0" fmla="*/ 6858000 h 6858000"/>
              <a:gd name="connsiteX1" fmla="*/ 381 w 8883055"/>
              <a:gd name="connsiteY1" fmla="*/ 0 h 6858000"/>
              <a:gd name="connsiteX2" fmla="*/ 8883055 w 8883055"/>
              <a:gd name="connsiteY2" fmla="*/ 8467 h 6858000"/>
              <a:gd name="connsiteX3" fmla="*/ 6385010 w 8883055"/>
              <a:gd name="connsiteY3" fmla="*/ 6858000 h 6858000"/>
              <a:gd name="connsiteX4" fmla="*/ 0 w 8883055"/>
              <a:gd name="connsiteY4" fmla="*/ 6858000 h 6858000"/>
              <a:gd name="connsiteX0" fmla="*/ 0 w 8891522"/>
              <a:gd name="connsiteY0" fmla="*/ 6900333 h 6900333"/>
              <a:gd name="connsiteX1" fmla="*/ 381 w 8891522"/>
              <a:gd name="connsiteY1" fmla="*/ 42333 h 6900333"/>
              <a:gd name="connsiteX2" fmla="*/ 8891522 w 8891522"/>
              <a:gd name="connsiteY2" fmla="*/ 0 h 6900333"/>
              <a:gd name="connsiteX3" fmla="*/ 6385010 w 8891522"/>
              <a:gd name="connsiteY3" fmla="*/ 6900333 h 6900333"/>
              <a:gd name="connsiteX4" fmla="*/ 0 w 8891522"/>
              <a:gd name="connsiteY4" fmla="*/ 6900333 h 6900333"/>
              <a:gd name="connsiteX0" fmla="*/ 0 w 8891522"/>
              <a:gd name="connsiteY0" fmla="*/ 6858000 h 6858000"/>
              <a:gd name="connsiteX1" fmla="*/ 381 w 8891522"/>
              <a:gd name="connsiteY1" fmla="*/ 0 h 6858000"/>
              <a:gd name="connsiteX2" fmla="*/ 8891522 w 8891522"/>
              <a:gd name="connsiteY2" fmla="*/ 1 h 6858000"/>
              <a:gd name="connsiteX3" fmla="*/ 6385010 w 8891522"/>
              <a:gd name="connsiteY3" fmla="*/ 6858000 h 6858000"/>
              <a:gd name="connsiteX4" fmla="*/ 0 w 8891522"/>
              <a:gd name="connsiteY4" fmla="*/ 6858000 h 6858000"/>
              <a:gd name="connsiteX0" fmla="*/ 0 w 12200848"/>
              <a:gd name="connsiteY0" fmla="*/ 6858000 h 6858000"/>
              <a:gd name="connsiteX1" fmla="*/ 12200848 w 12200848"/>
              <a:gd name="connsiteY1" fmla="*/ 0 h 6858000"/>
              <a:gd name="connsiteX2" fmla="*/ 8891522 w 12200848"/>
              <a:gd name="connsiteY2" fmla="*/ 1 h 6858000"/>
              <a:gd name="connsiteX3" fmla="*/ 6385010 w 12200848"/>
              <a:gd name="connsiteY3" fmla="*/ 6858000 h 6858000"/>
              <a:gd name="connsiteX4" fmla="*/ 0 w 12200848"/>
              <a:gd name="connsiteY4" fmla="*/ 6858000 h 6858000"/>
              <a:gd name="connsiteX0" fmla="*/ 5823923 w 5823923"/>
              <a:gd name="connsiteY0" fmla="*/ 6858000 h 6858000"/>
              <a:gd name="connsiteX1" fmla="*/ 5815838 w 5823923"/>
              <a:gd name="connsiteY1" fmla="*/ 0 h 6858000"/>
              <a:gd name="connsiteX2" fmla="*/ 2506512 w 5823923"/>
              <a:gd name="connsiteY2" fmla="*/ 1 h 6858000"/>
              <a:gd name="connsiteX3" fmla="*/ 0 w 5823923"/>
              <a:gd name="connsiteY3" fmla="*/ 6858000 h 6858000"/>
              <a:gd name="connsiteX4" fmla="*/ 5823923 w 5823923"/>
              <a:gd name="connsiteY4" fmla="*/ 6858000 h 6858000"/>
              <a:gd name="connsiteX0" fmla="*/ 5900123 w 5900123"/>
              <a:gd name="connsiteY0" fmla="*/ 6874933 h 6874933"/>
              <a:gd name="connsiteX1" fmla="*/ 5815838 w 5900123"/>
              <a:gd name="connsiteY1" fmla="*/ 0 h 6874933"/>
              <a:gd name="connsiteX2" fmla="*/ 2506512 w 5900123"/>
              <a:gd name="connsiteY2" fmla="*/ 1 h 6874933"/>
              <a:gd name="connsiteX3" fmla="*/ 0 w 5900123"/>
              <a:gd name="connsiteY3" fmla="*/ 6858000 h 6874933"/>
              <a:gd name="connsiteX4" fmla="*/ 5900123 w 5900123"/>
              <a:gd name="connsiteY4" fmla="*/ 6874933 h 6874933"/>
              <a:gd name="connsiteX0" fmla="*/ 5815456 w 5815838"/>
              <a:gd name="connsiteY0" fmla="*/ 6866467 h 6866467"/>
              <a:gd name="connsiteX1" fmla="*/ 5815838 w 5815838"/>
              <a:gd name="connsiteY1" fmla="*/ 0 h 6866467"/>
              <a:gd name="connsiteX2" fmla="*/ 2506512 w 5815838"/>
              <a:gd name="connsiteY2" fmla="*/ 1 h 6866467"/>
              <a:gd name="connsiteX3" fmla="*/ 0 w 5815838"/>
              <a:gd name="connsiteY3" fmla="*/ 6858000 h 6866467"/>
              <a:gd name="connsiteX4" fmla="*/ 5815456 w 5815838"/>
              <a:gd name="connsiteY4" fmla="*/ 6866467 h 6866467"/>
              <a:gd name="connsiteX0" fmla="*/ 5815456 w 5815838"/>
              <a:gd name="connsiteY0" fmla="*/ 7001934 h 7001934"/>
              <a:gd name="connsiteX1" fmla="*/ 5815838 w 5815838"/>
              <a:gd name="connsiteY1" fmla="*/ 0 h 7001934"/>
              <a:gd name="connsiteX2" fmla="*/ 2506512 w 5815838"/>
              <a:gd name="connsiteY2" fmla="*/ 1 h 7001934"/>
              <a:gd name="connsiteX3" fmla="*/ 0 w 5815838"/>
              <a:gd name="connsiteY3" fmla="*/ 6858000 h 7001934"/>
              <a:gd name="connsiteX4" fmla="*/ 5815456 w 5815838"/>
              <a:gd name="connsiteY4" fmla="*/ 7001934 h 7001934"/>
              <a:gd name="connsiteX0" fmla="*/ 5823922 w 5823923"/>
              <a:gd name="connsiteY0" fmla="*/ 6858001 h 6858001"/>
              <a:gd name="connsiteX1" fmla="*/ 5815838 w 5823923"/>
              <a:gd name="connsiteY1" fmla="*/ 0 h 6858001"/>
              <a:gd name="connsiteX2" fmla="*/ 2506512 w 5823923"/>
              <a:gd name="connsiteY2" fmla="*/ 1 h 6858001"/>
              <a:gd name="connsiteX3" fmla="*/ 0 w 5823923"/>
              <a:gd name="connsiteY3" fmla="*/ 6858000 h 6858001"/>
              <a:gd name="connsiteX4" fmla="*/ 5823922 w 5823923"/>
              <a:gd name="connsiteY4" fmla="*/ 6858001 h 6858001"/>
              <a:gd name="connsiteX0" fmla="*/ 5942455 w 5942455"/>
              <a:gd name="connsiteY0" fmla="*/ 6866468 h 6866468"/>
              <a:gd name="connsiteX1" fmla="*/ 5815838 w 5942455"/>
              <a:gd name="connsiteY1" fmla="*/ 0 h 6866468"/>
              <a:gd name="connsiteX2" fmla="*/ 2506512 w 5942455"/>
              <a:gd name="connsiteY2" fmla="*/ 1 h 6866468"/>
              <a:gd name="connsiteX3" fmla="*/ 0 w 5942455"/>
              <a:gd name="connsiteY3" fmla="*/ 6858000 h 6866468"/>
              <a:gd name="connsiteX4" fmla="*/ 5942455 w 5942455"/>
              <a:gd name="connsiteY4" fmla="*/ 6866468 h 6866468"/>
              <a:gd name="connsiteX0" fmla="*/ 5806988 w 5815838"/>
              <a:gd name="connsiteY0" fmla="*/ 6874935 h 6874935"/>
              <a:gd name="connsiteX1" fmla="*/ 5815838 w 5815838"/>
              <a:gd name="connsiteY1" fmla="*/ 0 h 6874935"/>
              <a:gd name="connsiteX2" fmla="*/ 2506512 w 5815838"/>
              <a:gd name="connsiteY2" fmla="*/ 1 h 6874935"/>
              <a:gd name="connsiteX3" fmla="*/ 0 w 5815838"/>
              <a:gd name="connsiteY3" fmla="*/ 6858000 h 6874935"/>
              <a:gd name="connsiteX4" fmla="*/ 5806988 w 5815838"/>
              <a:gd name="connsiteY4" fmla="*/ 6874935 h 6874935"/>
              <a:gd name="connsiteX0" fmla="*/ 5806988 w 6958838"/>
              <a:gd name="connsiteY0" fmla="*/ 6874934 h 6874934"/>
              <a:gd name="connsiteX1" fmla="*/ 6958838 w 6958838"/>
              <a:gd name="connsiteY1" fmla="*/ 8466 h 6874934"/>
              <a:gd name="connsiteX2" fmla="*/ 2506512 w 6958838"/>
              <a:gd name="connsiteY2" fmla="*/ 0 h 6874934"/>
              <a:gd name="connsiteX3" fmla="*/ 0 w 6958838"/>
              <a:gd name="connsiteY3" fmla="*/ 6857999 h 6874934"/>
              <a:gd name="connsiteX4" fmla="*/ 5806988 w 6958838"/>
              <a:gd name="connsiteY4" fmla="*/ 6874934 h 6874934"/>
              <a:gd name="connsiteX0" fmla="*/ 6958455 w 6958838"/>
              <a:gd name="connsiteY0" fmla="*/ 6858001 h 6858001"/>
              <a:gd name="connsiteX1" fmla="*/ 6958838 w 6958838"/>
              <a:gd name="connsiteY1" fmla="*/ 8466 h 6858001"/>
              <a:gd name="connsiteX2" fmla="*/ 2506512 w 6958838"/>
              <a:gd name="connsiteY2" fmla="*/ 0 h 6858001"/>
              <a:gd name="connsiteX3" fmla="*/ 0 w 6958838"/>
              <a:gd name="connsiteY3" fmla="*/ 6857999 h 6858001"/>
              <a:gd name="connsiteX4" fmla="*/ 6958455 w 6958838"/>
              <a:gd name="connsiteY4" fmla="*/ 6858001 h 6858001"/>
              <a:gd name="connsiteX0" fmla="*/ 6958455 w 6967305"/>
              <a:gd name="connsiteY0" fmla="*/ 6858001 h 6858001"/>
              <a:gd name="connsiteX1" fmla="*/ 6967305 w 6967305"/>
              <a:gd name="connsiteY1" fmla="*/ 126999 h 6858001"/>
              <a:gd name="connsiteX2" fmla="*/ 2506512 w 6967305"/>
              <a:gd name="connsiteY2" fmla="*/ 0 h 6858001"/>
              <a:gd name="connsiteX3" fmla="*/ 0 w 6967305"/>
              <a:gd name="connsiteY3" fmla="*/ 6857999 h 6858001"/>
              <a:gd name="connsiteX4" fmla="*/ 6958455 w 6967305"/>
              <a:gd name="connsiteY4" fmla="*/ 6858001 h 6858001"/>
              <a:gd name="connsiteX0" fmla="*/ 6958455 w 6967305"/>
              <a:gd name="connsiteY0" fmla="*/ 6866469 h 6866469"/>
              <a:gd name="connsiteX1" fmla="*/ 6967305 w 6967305"/>
              <a:gd name="connsiteY1" fmla="*/ 0 h 6866469"/>
              <a:gd name="connsiteX2" fmla="*/ 2506512 w 6967305"/>
              <a:gd name="connsiteY2" fmla="*/ 8468 h 6866469"/>
              <a:gd name="connsiteX3" fmla="*/ 0 w 6967305"/>
              <a:gd name="connsiteY3" fmla="*/ 6866467 h 6866469"/>
              <a:gd name="connsiteX4" fmla="*/ 6958455 w 6967305"/>
              <a:gd name="connsiteY4" fmla="*/ 6866469 h 6866469"/>
              <a:gd name="connsiteX0" fmla="*/ 7102388 w 7102388"/>
              <a:gd name="connsiteY0" fmla="*/ 6858002 h 6866467"/>
              <a:gd name="connsiteX1" fmla="*/ 6967305 w 7102388"/>
              <a:gd name="connsiteY1" fmla="*/ 0 h 6866467"/>
              <a:gd name="connsiteX2" fmla="*/ 2506512 w 7102388"/>
              <a:gd name="connsiteY2" fmla="*/ 8468 h 6866467"/>
              <a:gd name="connsiteX3" fmla="*/ 0 w 7102388"/>
              <a:gd name="connsiteY3" fmla="*/ 6866467 h 6866467"/>
              <a:gd name="connsiteX4" fmla="*/ 7102388 w 7102388"/>
              <a:gd name="connsiteY4" fmla="*/ 6858002 h 6866467"/>
              <a:gd name="connsiteX0" fmla="*/ 6966921 w 6967305"/>
              <a:gd name="connsiteY0" fmla="*/ 6874935 h 6874935"/>
              <a:gd name="connsiteX1" fmla="*/ 6967305 w 6967305"/>
              <a:gd name="connsiteY1" fmla="*/ 0 h 6874935"/>
              <a:gd name="connsiteX2" fmla="*/ 2506512 w 6967305"/>
              <a:gd name="connsiteY2" fmla="*/ 8468 h 6874935"/>
              <a:gd name="connsiteX3" fmla="*/ 0 w 6967305"/>
              <a:gd name="connsiteY3" fmla="*/ 6866467 h 6874935"/>
              <a:gd name="connsiteX4" fmla="*/ 6966921 w 6967305"/>
              <a:gd name="connsiteY4" fmla="*/ 6874935 h 6874935"/>
              <a:gd name="connsiteX0" fmla="*/ 6983855 w 6983855"/>
              <a:gd name="connsiteY0" fmla="*/ 6968068 h 6968068"/>
              <a:gd name="connsiteX1" fmla="*/ 6967305 w 6983855"/>
              <a:gd name="connsiteY1" fmla="*/ 0 h 6968068"/>
              <a:gd name="connsiteX2" fmla="*/ 2506512 w 6983855"/>
              <a:gd name="connsiteY2" fmla="*/ 8468 h 6968068"/>
              <a:gd name="connsiteX3" fmla="*/ 0 w 6983855"/>
              <a:gd name="connsiteY3" fmla="*/ 6866467 h 6968068"/>
              <a:gd name="connsiteX4" fmla="*/ 6983855 w 6983855"/>
              <a:gd name="connsiteY4" fmla="*/ 6968068 h 6968068"/>
              <a:gd name="connsiteX0" fmla="*/ 6966921 w 6967305"/>
              <a:gd name="connsiteY0" fmla="*/ 6874934 h 6874934"/>
              <a:gd name="connsiteX1" fmla="*/ 6967305 w 6967305"/>
              <a:gd name="connsiteY1" fmla="*/ 0 h 6874934"/>
              <a:gd name="connsiteX2" fmla="*/ 2506512 w 6967305"/>
              <a:gd name="connsiteY2" fmla="*/ 8468 h 6874934"/>
              <a:gd name="connsiteX3" fmla="*/ 0 w 6967305"/>
              <a:gd name="connsiteY3" fmla="*/ 6866467 h 6874934"/>
              <a:gd name="connsiteX4" fmla="*/ 6966921 w 6967305"/>
              <a:gd name="connsiteY4" fmla="*/ 6874934 h 6874934"/>
              <a:gd name="connsiteX0" fmla="*/ 6966921 w 6966921"/>
              <a:gd name="connsiteY0" fmla="*/ 6866467 h 6866467"/>
              <a:gd name="connsiteX1" fmla="*/ 6120638 w 6966921"/>
              <a:gd name="connsiteY1" fmla="*/ 0 h 6866467"/>
              <a:gd name="connsiteX2" fmla="*/ 2506512 w 6966921"/>
              <a:gd name="connsiteY2" fmla="*/ 1 h 6866467"/>
              <a:gd name="connsiteX3" fmla="*/ 0 w 6966921"/>
              <a:gd name="connsiteY3" fmla="*/ 6858000 h 6866467"/>
              <a:gd name="connsiteX4" fmla="*/ 6966921 w 6966921"/>
              <a:gd name="connsiteY4" fmla="*/ 6866467 h 6866467"/>
              <a:gd name="connsiteX0" fmla="*/ 6120255 w 6120638"/>
              <a:gd name="connsiteY0" fmla="*/ 6858001 h 6858001"/>
              <a:gd name="connsiteX1" fmla="*/ 6120638 w 6120638"/>
              <a:gd name="connsiteY1" fmla="*/ 0 h 6858001"/>
              <a:gd name="connsiteX2" fmla="*/ 2506512 w 6120638"/>
              <a:gd name="connsiteY2" fmla="*/ 1 h 6858001"/>
              <a:gd name="connsiteX3" fmla="*/ 0 w 6120638"/>
              <a:gd name="connsiteY3" fmla="*/ 6858000 h 6858001"/>
              <a:gd name="connsiteX4" fmla="*/ 6120255 w 6120638"/>
              <a:gd name="connsiteY4" fmla="*/ 6858001 h 6858001"/>
              <a:gd name="connsiteX0" fmla="*/ 6120255 w 6120638"/>
              <a:gd name="connsiteY0" fmla="*/ 6858001 h 6858001"/>
              <a:gd name="connsiteX1" fmla="*/ 6120638 w 6120638"/>
              <a:gd name="connsiteY1" fmla="*/ 0 h 6858001"/>
              <a:gd name="connsiteX2" fmla="*/ 33475 w 6120638"/>
              <a:gd name="connsiteY2" fmla="*/ 41565 h 6858001"/>
              <a:gd name="connsiteX3" fmla="*/ 0 w 6120638"/>
              <a:gd name="connsiteY3" fmla="*/ 6858000 h 6858001"/>
              <a:gd name="connsiteX4" fmla="*/ 6120255 w 6120638"/>
              <a:gd name="connsiteY4" fmla="*/ 6858001 h 6858001"/>
              <a:gd name="connsiteX0" fmla="*/ 6086780 w 6087163"/>
              <a:gd name="connsiteY0" fmla="*/ 6858001 h 6868391"/>
              <a:gd name="connsiteX1" fmla="*/ 6087163 w 6087163"/>
              <a:gd name="connsiteY1" fmla="*/ 0 h 6868391"/>
              <a:gd name="connsiteX2" fmla="*/ 0 w 6087163"/>
              <a:gd name="connsiteY2" fmla="*/ 41565 h 6868391"/>
              <a:gd name="connsiteX3" fmla="*/ 195125 w 6087163"/>
              <a:gd name="connsiteY3" fmla="*/ 6868391 h 6868391"/>
              <a:gd name="connsiteX4" fmla="*/ 6086780 w 6087163"/>
              <a:gd name="connsiteY4" fmla="*/ 6858001 h 6868391"/>
              <a:gd name="connsiteX0" fmla="*/ 6086780 w 6087163"/>
              <a:gd name="connsiteY0" fmla="*/ 6858001 h 6868391"/>
              <a:gd name="connsiteX1" fmla="*/ 6087163 w 6087163"/>
              <a:gd name="connsiteY1" fmla="*/ 0 h 6868391"/>
              <a:gd name="connsiteX2" fmla="*/ 0 w 6087163"/>
              <a:gd name="connsiteY2" fmla="*/ 41565 h 6868391"/>
              <a:gd name="connsiteX3" fmla="*/ 8088 w 6087163"/>
              <a:gd name="connsiteY3" fmla="*/ 6868391 h 6868391"/>
              <a:gd name="connsiteX4" fmla="*/ 6086780 w 6087163"/>
              <a:gd name="connsiteY4" fmla="*/ 6858001 h 6868391"/>
              <a:gd name="connsiteX0" fmla="*/ 6086780 w 6087163"/>
              <a:gd name="connsiteY0" fmla="*/ 6858001 h 6868391"/>
              <a:gd name="connsiteX1" fmla="*/ 6087163 w 6087163"/>
              <a:gd name="connsiteY1" fmla="*/ 0 h 6868391"/>
              <a:gd name="connsiteX2" fmla="*/ 0 w 6087163"/>
              <a:gd name="connsiteY2" fmla="*/ 10392 h 6868391"/>
              <a:gd name="connsiteX3" fmla="*/ 8088 w 6087163"/>
              <a:gd name="connsiteY3" fmla="*/ 6868391 h 6868391"/>
              <a:gd name="connsiteX4" fmla="*/ 6086780 w 6087163"/>
              <a:gd name="connsiteY4" fmla="*/ 6858001 h 6868391"/>
              <a:gd name="connsiteX0" fmla="*/ 6086780 w 6087163"/>
              <a:gd name="connsiteY0" fmla="*/ 6858001 h 6868391"/>
              <a:gd name="connsiteX1" fmla="*/ 6087163 w 6087163"/>
              <a:gd name="connsiteY1" fmla="*/ 0 h 6868391"/>
              <a:gd name="connsiteX2" fmla="*/ 0 w 6087163"/>
              <a:gd name="connsiteY2" fmla="*/ 1 h 6868391"/>
              <a:gd name="connsiteX3" fmla="*/ 8088 w 6087163"/>
              <a:gd name="connsiteY3" fmla="*/ 6868391 h 6868391"/>
              <a:gd name="connsiteX4" fmla="*/ 6086780 w 6087163"/>
              <a:gd name="connsiteY4" fmla="*/ 6858001 h 68683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87163" h="6868391">
                <a:moveTo>
                  <a:pt x="6086780" y="6858001"/>
                </a:moveTo>
                <a:cubicBezTo>
                  <a:pt x="6086907" y="4569179"/>
                  <a:pt x="6087036" y="2288822"/>
                  <a:pt x="6087163" y="0"/>
                </a:cubicBezTo>
                <a:lnTo>
                  <a:pt x="0" y="1"/>
                </a:lnTo>
                <a:lnTo>
                  <a:pt x="8088" y="6868391"/>
                </a:lnTo>
                <a:lnTo>
                  <a:pt x="6086780" y="6858001"/>
                </a:lnTo>
                <a:close/>
              </a:path>
            </a:pathLst>
          </a:custGeom>
        </p:spPr>
        <p:txBody>
          <a:bodyPr rtlCol="0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ru-RU" noProof="0" dirty="0"/>
          </a:p>
        </p:txBody>
      </p:sp>
      <p:sp>
        <p:nvSpPr>
          <p:cNvPr id="4" name="Нижний колонтитул 4">
            <a:extLst>
              <a:ext uri="{FF2B5EF4-FFF2-40B4-BE49-F238E27FC236}">
                <a16:creationId xmlns:a16="http://schemas.microsoft.com/office/drawing/2014/main" id="{AC8463E6-BAC8-164D-8140-E167D0ECF16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769938" y="6573838"/>
            <a:ext cx="4114800" cy="200025"/>
          </a:xfrm>
        </p:spPr>
        <p:txBody>
          <a:bodyPr/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ru-RU"/>
              <a:t>Нижний </a:t>
            </a:r>
            <a:r>
              <a:rPr lang="ru-RU" err="1"/>
              <a:t>коллонтитул</a:t>
            </a:r>
            <a:endParaRPr lang="ru-RU"/>
          </a:p>
        </p:txBody>
      </p:sp>
      <p:sp>
        <p:nvSpPr>
          <p:cNvPr id="5" name="Номер слайда 5">
            <a:extLst>
              <a:ext uri="{FF2B5EF4-FFF2-40B4-BE49-F238E27FC236}">
                <a16:creationId xmlns:a16="http://schemas.microsoft.com/office/drawing/2014/main" id="{B92AD35E-AE42-EC4E-B6F0-496261DECAB3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11044238" y="6573838"/>
            <a:ext cx="765175" cy="153987"/>
          </a:xfrm>
        </p:spPr>
        <p:txBody>
          <a:bodyPr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036865A6-F510-2849-AC2F-5E5316C6947E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5268191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Лозунговый слайд">
    <p:bg>
      <p:bgPr>
        <a:solidFill>
          <a:srgbClr val="FAEB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6">
            <a:extLst>
              <a:ext uri="{FF2B5EF4-FFF2-40B4-BE49-F238E27FC236}">
                <a16:creationId xmlns:a16="http://schemas.microsoft.com/office/drawing/2014/main" id="{72E46163-EA9C-704F-A7DD-565471ED77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88" y="0"/>
            <a:ext cx="381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Объект 2"/>
          <p:cNvSpPr>
            <a:spLocks noGrp="1"/>
          </p:cNvSpPr>
          <p:nvPr>
            <p:ph idx="14"/>
          </p:nvPr>
        </p:nvSpPr>
        <p:spPr>
          <a:xfrm>
            <a:off x="765175" y="2282824"/>
            <a:ext cx="11036300" cy="33855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200" b="0" i="0" cap="none" baseline="0">
                <a:solidFill>
                  <a:schemeClr val="tx1">
                    <a:lumMod val="50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5" name="Заголовок 1"/>
          <p:cNvSpPr>
            <a:spLocks noGrp="1"/>
          </p:cNvSpPr>
          <p:nvPr>
            <p:ph type="title"/>
          </p:nvPr>
        </p:nvSpPr>
        <p:spPr>
          <a:xfrm>
            <a:off x="767291" y="478121"/>
            <a:ext cx="7228947" cy="645203"/>
          </a:xfrm>
        </p:spPr>
        <p:txBody>
          <a:bodyPr/>
          <a:lstStyle>
            <a:lvl1pPr>
              <a:defRPr sz="2600" b="0" i="0" cap="none" baseline="0"/>
            </a:lvl1pPr>
          </a:lstStyle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26" name="Объект 2"/>
          <p:cNvSpPr>
            <a:spLocks noGrp="1"/>
          </p:cNvSpPr>
          <p:nvPr>
            <p:ph idx="13"/>
          </p:nvPr>
        </p:nvSpPr>
        <p:spPr>
          <a:xfrm>
            <a:off x="767291" y="1298204"/>
            <a:ext cx="7228947" cy="2769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 baseline="0">
                <a:solidFill>
                  <a:srgbClr val="000000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Нижний колонтитул 4">
            <a:extLst>
              <a:ext uri="{FF2B5EF4-FFF2-40B4-BE49-F238E27FC236}">
                <a16:creationId xmlns:a16="http://schemas.microsoft.com/office/drawing/2014/main" id="{DA705DAA-AEDA-DC42-87DB-868CCA5527D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765175" y="6573838"/>
            <a:ext cx="4114800" cy="200025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r>
              <a:rPr lang="ru-RU"/>
              <a:t>Нижний </a:t>
            </a:r>
            <a:r>
              <a:rPr lang="ru-RU" err="1"/>
              <a:t>коллонтитул</a:t>
            </a:r>
            <a:endParaRPr lang="ru-RU"/>
          </a:p>
        </p:txBody>
      </p:sp>
      <p:sp>
        <p:nvSpPr>
          <p:cNvPr id="7" name="Номер слайда 5">
            <a:extLst>
              <a:ext uri="{FF2B5EF4-FFF2-40B4-BE49-F238E27FC236}">
                <a16:creationId xmlns:a16="http://schemas.microsoft.com/office/drawing/2014/main" id="{4EE2D932-6AEF-D446-8BC7-67D812DB204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11044238" y="6573838"/>
            <a:ext cx="765175" cy="153987"/>
          </a:xfrm>
        </p:spPr>
        <p:txBody>
          <a:bodyPr/>
          <a:lstStyle>
            <a:lvl1pPr>
              <a:defRPr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pPr>
              <a:defRPr/>
            </a:pPr>
            <a:fld id="{667F6EFC-0960-994A-89AD-8BAF98C98421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1054902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Финальный слайд">
    <p:bg>
      <p:bgPr>
        <a:solidFill>
          <a:srgbClr val="7F7F7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6">
            <a:extLst>
              <a:ext uri="{FF2B5EF4-FFF2-40B4-BE49-F238E27FC236}">
                <a16:creationId xmlns:a16="http://schemas.microsoft.com/office/drawing/2014/main" id="{1F8C7204-0B54-F341-9A5E-9445A41B7D59}"/>
              </a:ext>
            </a:extLst>
          </p:cNvPr>
          <p:cNvSpPr/>
          <p:nvPr userDrawn="1"/>
        </p:nvSpPr>
        <p:spPr>
          <a:xfrm>
            <a:off x="763588" y="0"/>
            <a:ext cx="9898062" cy="6858000"/>
          </a:xfrm>
          <a:prstGeom prst="rect">
            <a:avLst/>
          </a:prstGeom>
          <a:solidFill>
            <a:srgbClr val="181C2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4" name="Подзаголовок 2">
            <a:extLst>
              <a:ext uri="{FF2B5EF4-FFF2-40B4-BE49-F238E27FC236}">
                <a16:creationId xmlns:a16="http://schemas.microsoft.com/office/drawing/2014/main" id="{BD3A2294-15D1-4744-8FBF-1EBF8092E5DC}"/>
              </a:ext>
            </a:extLst>
          </p:cNvPr>
          <p:cNvSpPr txBox="1">
            <a:spLocks/>
          </p:cNvSpPr>
          <p:nvPr userDrawn="1"/>
        </p:nvSpPr>
        <p:spPr>
          <a:xfrm>
            <a:off x="1149350" y="6594475"/>
            <a:ext cx="2292350" cy="173038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tx1">
                  <a:lumMod val="50000"/>
                </a:schemeClr>
              </a:buClr>
              <a:buFont typeface="Arial" charset="0"/>
              <a:buNone/>
              <a:defRPr sz="2400" b="0" i="0" kern="1200" baseline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tx1">
                  <a:lumMod val="50000"/>
                </a:schemeClr>
              </a:buClr>
              <a:buFont typeface="Arial"/>
              <a:buNone/>
              <a:defRPr sz="2000" b="0" i="0" kern="1200" baseline="0">
                <a:solidFill>
                  <a:schemeClr val="tx1">
                    <a:lumMod val="75000"/>
                  </a:schemeClr>
                </a:solidFill>
                <a:latin typeface="Arial" charset="0"/>
                <a:ea typeface="Arial" charset="0"/>
                <a:cs typeface="Arial" charset="0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tx1">
                  <a:lumMod val="50000"/>
                </a:schemeClr>
              </a:buClr>
              <a:buFont typeface="Arial"/>
              <a:buNone/>
              <a:defRPr sz="1800" b="0" i="0" kern="1200" baseline="0">
                <a:solidFill>
                  <a:schemeClr val="tx1">
                    <a:lumMod val="75000"/>
                  </a:schemeClr>
                </a:solidFill>
                <a:latin typeface="Arial" charset="0"/>
                <a:ea typeface="Arial" charset="0"/>
                <a:cs typeface="Arial" charset="0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50000"/>
                </a:schemeClr>
              </a:buClr>
              <a:buFont typeface="Arial"/>
              <a:buNone/>
              <a:defRPr sz="1600" b="0" i="0" kern="1200" baseline="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ea typeface="Arial" charset="0"/>
                <a:cs typeface="Arial" charset="0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50000"/>
                </a:schemeClr>
              </a:buClr>
              <a:buFont typeface="Arial"/>
              <a:buNone/>
              <a:defRPr sz="1600" b="0" i="0" kern="1200" baseline="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ea typeface="Arial" charset="0"/>
                <a:cs typeface="Arial" charset="0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Aft>
                <a:spcPts val="0"/>
              </a:spcAft>
              <a:defRPr/>
            </a:pPr>
            <a:r>
              <a:rPr lang="en-US" sz="1000" dirty="0"/>
              <a:t>raiffeisen.ru</a:t>
            </a:r>
            <a:endParaRPr lang="ru-RU" sz="1000" dirty="0"/>
          </a:p>
        </p:txBody>
      </p:sp>
      <p:pic>
        <p:nvPicPr>
          <p:cNvPr id="5" name="Picture 3">
            <a:extLst>
              <a:ext uri="{FF2B5EF4-FFF2-40B4-BE49-F238E27FC236}">
                <a16:creationId xmlns:a16="http://schemas.microsoft.com/office/drawing/2014/main" id="{53919AD3-CFF4-B548-8C50-814CC83FDE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175" y="0"/>
            <a:ext cx="76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Заголовок 1"/>
          <p:cNvSpPr>
            <a:spLocks noGrp="1"/>
          </p:cNvSpPr>
          <p:nvPr>
            <p:ph type="ctrTitle"/>
          </p:nvPr>
        </p:nvSpPr>
        <p:spPr>
          <a:xfrm>
            <a:off x="1149881" y="1144588"/>
            <a:ext cx="5322357" cy="553998"/>
          </a:xfrm>
        </p:spPr>
        <p:txBody>
          <a:bodyPr/>
          <a:lstStyle>
            <a:lvl1pPr algn="l">
              <a:defRPr sz="4000" b="0" i="0" cap="none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84918081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Финальный слайд с фотоизображение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6">
            <a:extLst>
              <a:ext uri="{FF2B5EF4-FFF2-40B4-BE49-F238E27FC236}">
                <a16:creationId xmlns:a16="http://schemas.microsoft.com/office/drawing/2014/main" id="{14EA4895-B61E-5248-BFB5-5B8C5D9DBA9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6125" y="0"/>
            <a:ext cx="11445875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Rectangle 8">
            <a:extLst>
              <a:ext uri="{FF2B5EF4-FFF2-40B4-BE49-F238E27FC236}">
                <a16:creationId xmlns:a16="http://schemas.microsoft.com/office/drawing/2014/main" id="{F0F17B14-13F8-574D-80AB-ED5D066FE88E}"/>
              </a:ext>
            </a:extLst>
          </p:cNvPr>
          <p:cNvSpPr/>
          <p:nvPr userDrawn="1"/>
        </p:nvSpPr>
        <p:spPr>
          <a:xfrm>
            <a:off x="758825" y="0"/>
            <a:ext cx="6107113" cy="6858000"/>
          </a:xfrm>
          <a:prstGeom prst="rect">
            <a:avLst/>
          </a:prstGeom>
          <a:solidFill>
            <a:srgbClr val="181C2B">
              <a:alpha val="7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5" name="Подзаголовок 2">
            <a:extLst>
              <a:ext uri="{FF2B5EF4-FFF2-40B4-BE49-F238E27FC236}">
                <a16:creationId xmlns:a16="http://schemas.microsoft.com/office/drawing/2014/main" id="{CF1179AD-3CEB-4540-9978-424B3FCA2A97}"/>
              </a:ext>
            </a:extLst>
          </p:cNvPr>
          <p:cNvSpPr txBox="1">
            <a:spLocks/>
          </p:cNvSpPr>
          <p:nvPr userDrawn="1"/>
        </p:nvSpPr>
        <p:spPr>
          <a:xfrm>
            <a:off x="1149350" y="6594475"/>
            <a:ext cx="2292350" cy="173038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tx1">
                  <a:lumMod val="50000"/>
                </a:schemeClr>
              </a:buClr>
              <a:buFont typeface="Arial" charset="0"/>
              <a:buNone/>
              <a:defRPr sz="2400" b="0" i="0" kern="1200" baseline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tx1">
                  <a:lumMod val="50000"/>
                </a:schemeClr>
              </a:buClr>
              <a:buFont typeface="Arial"/>
              <a:buNone/>
              <a:defRPr sz="2000" b="0" i="0" kern="1200" baseline="0">
                <a:solidFill>
                  <a:schemeClr val="tx1">
                    <a:lumMod val="75000"/>
                  </a:schemeClr>
                </a:solidFill>
                <a:latin typeface="Arial" charset="0"/>
                <a:ea typeface="Arial" charset="0"/>
                <a:cs typeface="Arial" charset="0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tx1">
                  <a:lumMod val="50000"/>
                </a:schemeClr>
              </a:buClr>
              <a:buFont typeface="Arial"/>
              <a:buNone/>
              <a:defRPr sz="1800" b="0" i="0" kern="1200" baseline="0">
                <a:solidFill>
                  <a:schemeClr val="tx1">
                    <a:lumMod val="75000"/>
                  </a:schemeClr>
                </a:solidFill>
                <a:latin typeface="Arial" charset="0"/>
                <a:ea typeface="Arial" charset="0"/>
                <a:cs typeface="Arial" charset="0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50000"/>
                </a:schemeClr>
              </a:buClr>
              <a:buFont typeface="Arial"/>
              <a:buNone/>
              <a:defRPr sz="1600" b="0" i="0" kern="1200" baseline="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ea typeface="Arial" charset="0"/>
                <a:cs typeface="Arial" charset="0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50000"/>
                </a:schemeClr>
              </a:buClr>
              <a:buFont typeface="Arial"/>
              <a:buNone/>
              <a:defRPr sz="1600" b="0" i="0" kern="1200" baseline="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ea typeface="Arial" charset="0"/>
                <a:cs typeface="Arial" charset="0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Aft>
                <a:spcPts val="0"/>
              </a:spcAft>
              <a:defRPr/>
            </a:pPr>
            <a:r>
              <a:rPr lang="en-US" sz="1000" dirty="0"/>
              <a:t>raiffeisen.ru</a:t>
            </a:r>
            <a:endParaRPr lang="ru-RU" sz="1000" dirty="0"/>
          </a:p>
        </p:txBody>
      </p:sp>
      <p:pic>
        <p:nvPicPr>
          <p:cNvPr id="6" name="Picture 3">
            <a:extLst>
              <a:ext uri="{FF2B5EF4-FFF2-40B4-BE49-F238E27FC236}">
                <a16:creationId xmlns:a16="http://schemas.microsoft.com/office/drawing/2014/main" id="{F40C1CCB-7473-2D4F-9649-71789CB2A8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175" y="0"/>
            <a:ext cx="76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Заголовок 1"/>
          <p:cNvSpPr>
            <a:spLocks noGrp="1"/>
          </p:cNvSpPr>
          <p:nvPr>
            <p:ph type="ctrTitle"/>
          </p:nvPr>
        </p:nvSpPr>
        <p:spPr>
          <a:xfrm>
            <a:off x="1149881" y="1144588"/>
            <a:ext cx="5322357" cy="553998"/>
          </a:xfrm>
        </p:spPr>
        <p:txBody>
          <a:bodyPr/>
          <a:lstStyle>
            <a:lvl1pPr algn="l">
              <a:defRPr sz="4000" b="0" i="0" cap="none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3557387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Основной ">
  <p:cSld name="Основной ">
    <p:spTree>
      <p:nvGrpSpPr>
        <p:cNvPr id="1" name="Shape 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Shape 33"/>
          <p:cNvSpPr txBox="1">
            <a:spLocks noGrp="1"/>
          </p:cNvSpPr>
          <p:nvPr>
            <p:ph type="subTitle" idx="1"/>
          </p:nvPr>
        </p:nvSpPr>
        <p:spPr>
          <a:xfrm>
            <a:off x="550863" y="598045"/>
            <a:ext cx="11090274" cy="583399"/>
          </a:xfrm>
          <a:prstGeom prst="rect">
            <a:avLst/>
          </a:prstGeom>
          <a:noFill/>
          <a:ln>
            <a:noFill/>
          </a:ln>
        </p:spPr>
        <p:txBody>
          <a:bodyPr spcFirstLastPara="1" lIns="91425" tIns="91425" rIns="91425" bIns="91425"/>
          <a:lstStyle>
            <a:lvl1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2879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l" rtl="0">
              <a:lnSpc>
                <a:spcPct val="100000"/>
              </a:lnSpc>
              <a:spcBef>
                <a:spcPts val="794"/>
              </a:spcBef>
              <a:spcAft>
                <a:spcPts val="0"/>
              </a:spcAft>
              <a:buClr>
                <a:schemeClr val="dk1"/>
              </a:buClr>
              <a:buSzPts val="993"/>
              <a:buFont typeface="Arial"/>
              <a:buNone/>
              <a:defRPr sz="893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907257" marR="0" lvl="2" indent="-4588" algn="l" rtl="0">
              <a:lnSpc>
                <a:spcPct val="90000"/>
              </a:lnSpc>
              <a:spcBef>
                <a:spcPts val="496"/>
              </a:spcBef>
              <a:spcAft>
                <a:spcPts val="0"/>
              </a:spcAft>
              <a:buClr>
                <a:schemeClr val="dk1"/>
              </a:buClr>
              <a:buSzPts val="1544"/>
              <a:buFont typeface="Arial"/>
              <a:buNone/>
              <a:defRPr sz="1389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360886" marR="0" lvl="3" indent="-1170" algn="l" rtl="0">
              <a:lnSpc>
                <a:spcPct val="90000"/>
              </a:lnSpc>
              <a:spcBef>
                <a:spcPts val="496"/>
              </a:spcBef>
              <a:spcAft>
                <a:spcPts val="0"/>
              </a:spcAft>
              <a:buClr>
                <a:schemeClr val="dk1"/>
              </a:buClr>
              <a:buSzPts val="1323"/>
              <a:buFont typeface="Arial"/>
              <a:buNone/>
              <a:defRPr sz="119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814515" marR="0" lvl="4" indent="-9177" algn="l" rtl="0">
              <a:lnSpc>
                <a:spcPct val="90000"/>
              </a:lnSpc>
              <a:spcBef>
                <a:spcPts val="496"/>
              </a:spcBef>
              <a:spcAft>
                <a:spcPts val="0"/>
              </a:spcAft>
              <a:buClr>
                <a:schemeClr val="dk1"/>
              </a:buClr>
              <a:buSzPts val="1323"/>
              <a:buFont typeface="Arial"/>
              <a:buNone/>
              <a:defRPr sz="119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494959" marR="0" lvl="5" indent="-232573" algn="l" rtl="0">
              <a:lnSpc>
                <a:spcPct val="90000"/>
              </a:lnSpc>
              <a:spcBef>
                <a:spcPts val="496"/>
              </a:spcBef>
              <a:spcAft>
                <a:spcPts val="0"/>
              </a:spcAft>
              <a:buClr>
                <a:schemeClr val="dk1"/>
              </a:buClr>
              <a:buSzPts val="1985"/>
              <a:buFont typeface="Arial"/>
              <a:buChar char="•"/>
              <a:defRPr sz="1786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948588" marR="0" lvl="6" indent="-229154" algn="l" rtl="0">
              <a:lnSpc>
                <a:spcPct val="90000"/>
              </a:lnSpc>
              <a:spcBef>
                <a:spcPts val="496"/>
              </a:spcBef>
              <a:spcAft>
                <a:spcPts val="0"/>
              </a:spcAft>
              <a:buClr>
                <a:schemeClr val="dk1"/>
              </a:buClr>
              <a:buSzPts val="1985"/>
              <a:buFont typeface="Arial"/>
              <a:buChar char="•"/>
              <a:defRPr sz="1786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402216" marR="0" lvl="7" indent="-237161" algn="l" rtl="0">
              <a:lnSpc>
                <a:spcPct val="90000"/>
              </a:lnSpc>
              <a:spcBef>
                <a:spcPts val="496"/>
              </a:spcBef>
              <a:spcAft>
                <a:spcPts val="0"/>
              </a:spcAft>
              <a:buClr>
                <a:schemeClr val="dk1"/>
              </a:buClr>
              <a:buSzPts val="1985"/>
              <a:buFont typeface="Arial"/>
              <a:buChar char="•"/>
              <a:defRPr sz="1786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855845" marR="0" lvl="8" indent="-233742" algn="l" rtl="0">
              <a:lnSpc>
                <a:spcPct val="90000"/>
              </a:lnSpc>
              <a:spcBef>
                <a:spcPts val="496"/>
              </a:spcBef>
              <a:spcAft>
                <a:spcPts val="0"/>
              </a:spcAft>
              <a:buClr>
                <a:schemeClr val="dk1"/>
              </a:buClr>
              <a:buSzPts val="1985"/>
              <a:buFont typeface="Arial"/>
              <a:buChar char="•"/>
              <a:defRPr sz="1786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34" name="Shape 34"/>
          <p:cNvSpPr txBox="1">
            <a:spLocks noGrp="1"/>
          </p:cNvSpPr>
          <p:nvPr>
            <p:ph type="body" idx="2"/>
          </p:nvPr>
        </p:nvSpPr>
        <p:spPr>
          <a:xfrm>
            <a:off x="1019174" y="1474336"/>
            <a:ext cx="1101880" cy="428420"/>
          </a:xfrm>
          <a:prstGeom prst="rect">
            <a:avLst/>
          </a:prstGeom>
          <a:noFill/>
          <a:ln>
            <a:noFill/>
          </a:ln>
        </p:spPr>
        <p:txBody>
          <a:bodyPr spcFirstLastPara="1" lIns="91425" tIns="91425" rIns="91425" bIns="91425"/>
          <a:lstStyle>
            <a:lvl1pPr marL="411343" marR="0" lvl="0" indent="-205671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44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822686" marR="0" lvl="1" indent="-205671" algn="l" rtl="0">
              <a:lnSpc>
                <a:spcPct val="100000"/>
              </a:lnSpc>
              <a:spcBef>
                <a:spcPts val="794"/>
              </a:spcBef>
              <a:spcAft>
                <a:spcPts val="0"/>
              </a:spcAft>
              <a:buClr>
                <a:schemeClr val="dk1"/>
              </a:buClr>
              <a:buSzPts val="993"/>
              <a:buFont typeface="Arial"/>
              <a:buNone/>
              <a:defRPr sz="893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234029" marR="0" lvl="2" indent="-205671" algn="l" rtl="0">
              <a:lnSpc>
                <a:spcPct val="90000"/>
              </a:lnSpc>
              <a:spcBef>
                <a:spcPts val="496"/>
              </a:spcBef>
              <a:spcAft>
                <a:spcPts val="0"/>
              </a:spcAft>
              <a:buClr>
                <a:schemeClr val="dk1"/>
              </a:buClr>
              <a:buSzPts val="1544"/>
              <a:buFont typeface="Arial"/>
              <a:buNone/>
              <a:defRPr sz="1389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645371" marR="0" lvl="3" indent="-205671" algn="l" rtl="0">
              <a:lnSpc>
                <a:spcPct val="90000"/>
              </a:lnSpc>
              <a:spcBef>
                <a:spcPts val="496"/>
              </a:spcBef>
              <a:spcAft>
                <a:spcPts val="0"/>
              </a:spcAft>
              <a:buClr>
                <a:schemeClr val="dk1"/>
              </a:buClr>
              <a:buSzPts val="1323"/>
              <a:buFont typeface="Arial"/>
              <a:buNone/>
              <a:defRPr sz="119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056714" marR="0" lvl="4" indent="-205671" algn="l" rtl="0">
              <a:lnSpc>
                <a:spcPct val="90000"/>
              </a:lnSpc>
              <a:spcBef>
                <a:spcPts val="496"/>
              </a:spcBef>
              <a:spcAft>
                <a:spcPts val="0"/>
              </a:spcAft>
              <a:buClr>
                <a:schemeClr val="dk1"/>
              </a:buClr>
              <a:buSzPts val="1323"/>
              <a:buFont typeface="Arial"/>
              <a:buNone/>
              <a:defRPr sz="119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468057" marR="0" lvl="5" indent="-319076" algn="l" rtl="0">
              <a:lnSpc>
                <a:spcPct val="90000"/>
              </a:lnSpc>
              <a:spcBef>
                <a:spcPts val="496"/>
              </a:spcBef>
              <a:spcAft>
                <a:spcPts val="0"/>
              </a:spcAft>
              <a:buClr>
                <a:schemeClr val="dk1"/>
              </a:buClr>
              <a:buSzPts val="1985"/>
              <a:buFont typeface="Arial"/>
              <a:buChar char="•"/>
              <a:defRPr sz="1786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879400" marR="0" lvl="6" indent="-319076" algn="l" rtl="0">
              <a:lnSpc>
                <a:spcPct val="90000"/>
              </a:lnSpc>
              <a:spcBef>
                <a:spcPts val="496"/>
              </a:spcBef>
              <a:spcAft>
                <a:spcPts val="0"/>
              </a:spcAft>
              <a:buClr>
                <a:schemeClr val="dk1"/>
              </a:buClr>
              <a:buSzPts val="1985"/>
              <a:buFont typeface="Arial"/>
              <a:buChar char="•"/>
              <a:defRPr sz="1786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290743" marR="0" lvl="7" indent="-319076" algn="l" rtl="0">
              <a:lnSpc>
                <a:spcPct val="90000"/>
              </a:lnSpc>
              <a:spcBef>
                <a:spcPts val="496"/>
              </a:spcBef>
              <a:spcAft>
                <a:spcPts val="0"/>
              </a:spcAft>
              <a:buClr>
                <a:schemeClr val="dk1"/>
              </a:buClr>
              <a:buSzPts val="1985"/>
              <a:buFont typeface="Arial"/>
              <a:buChar char="•"/>
              <a:defRPr sz="1786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702086" marR="0" lvl="8" indent="-319076" algn="l" rtl="0">
              <a:lnSpc>
                <a:spcPct val="90000"/>
              </a:lnSpc>
              <a:spcBef>
                <a:spcPts val="496"/>
              </a:spcBef>
              <a:spcAft>
                <a:spcPts val="0"/>
              </a:spcAft>
              <a:buClr>
                <a:schemeClr val="dk1"/>
              </a:buClr>
              <a:buSzPts val="1985"/>
              <a:buFont typeface="Arial"/>
              <a:buChar char="•"/>
              <a:defRPr sz="1786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35" name="Shape 35"/>
          <p:cNvSpPr txBox="1">
            <a:spLocks noGrp="1"/>
          </p:cNvSpPr>
          <p:nvPr>
            <p:ph type="body" idx="3"/>
          </p:nvPr>
        </p:nvSpPr>
        <p:spPr>
          <a:xfrm>
            <a:off x="1022145" y="6445691"/>
            <a:ext cx="442771" cy="284343"/>
          </a:xfrm>
          <a:prstGeom prst="rect">
            <a:avLst/>
          </a:prstGeom>
          <a:noFill/>
          <a:ln>
            <a:noFill/>
          </a:ln>
        </p:spPr>
        <p:txBody>
          <a:bodyPr spcFirstLastPara="1" lIns="91425" tIns="91425" rIns="91425" bIns="91425"/>
          <a:lstStyle>
            <a:lvl1pPr marL="411343" marR="0" lvl="0" indent="-205671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800"/>
              <a:buFont typeface="Arial"/>
              <a:buNone/>
              <a:defRPr sz="72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822686" marR="0" lvl="1" indent="-205671" algn="l" rtl="0">
              <a:lnSpc>
                <a:spcPct val="100000"/>
              </a:lnSpc>
              <a:spcBef>
                <a:spcPts val="794"/>
              </a:spcBef>
              <a:spcAft>
                <a:spcPts val="0"/>
              </a:spcAft>
              <a:buClr>
                <a:schemeClr val="dk1"/>
              </a:buClr>
              <a:buSzPts val="993"/>
              <a:buFont typeface="Arial"/>
              <a:buNone/>
              <a:defRPr sz="893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234029" marR="0" lvl="2" indent="-205671" algn="l" rtl="0">
              <a:lnSpc>
                <a:spcPct val="90000"/>
              </a:lnSpc>
              <a:spcBef>
                <a:spcPts val="496"/>
              </a:spcBef>
              <a:spcAft>
                <a:spcPts val="0"/>
              </a:spcAft>
              <a:buClr>
                <a:schemeClr val="dk1"/>
              </a:buClr>
              <a:buSzPts val="1544"/>
              <a:buFont typeface="Arial"/>
              <a:buNone/>
              <a:defRPr sz="1389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645371" marR="0" lvl="3" indent="-205671" algn="l" rtl="0">
              <a:lnSpc>
                <a:spcPct val="90000"/>
              </a:lnSpc>
              <a:spcBef>
                <a:spcPts val="496"/>
              </a:spcBef>
              <a:spcAft>
                <a:spcPts val="0"/>
              </a:spcAft>
              <a:buClr>
                <a:schemeClr val="dk1"/>
              </a:buClr>
              <a:buSzPts val="1323"/>
              <a:buFont typeface="Arial"/>
              <a:buNone/>
              <a:defRPr sz="119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056714" marR="0" lvl="4" indent="-205671" algn="l" rtl="0">
              <a:lnSpc>
                <a:spcPct val="90000"/>
              </a:lnSpc>
              <a:spcBef>
                <a:spcPts val="496"/>
              </a:spcBef>
              <a:spcAft>
                <a:spcPts val="0"/>
              </a:spcAft>
              <a:buClr>
                <a:schemeClr val="dk1"/>
              </a:buClr>
              <a:buSzPts val="1323"/>
              <a:buFont typeface="Arial"/>
              <a:buNone/>
              <a:defRPr sz="119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468057" marR="0" lvl="5" indent="-319076" algn="l" rtl="0">
              <a:lnSpc>
                <a:spcPct val="90000"/>
              </a:lnSpc>
              <a:spcBef>
                <a:spcPts val="496"/>
              </a:spcBef>
              <a:spcAft>
                <a:spcPts val="0"/>
              </a:spcAft>
              <a:buClr>
                <a:schemeClr val="dk1"/>
              </a:buClr>
              <a:buSzPts val="1985"/>
              <a:buFont typeface="Arial"/>
              <a:buChar char="•"/>
              <a:defRPr sz="1786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879400" marR="0" lvl="6" indent="-319076" algn="l" rtl="0">
              <a:lnSpc>
                <a:spcPct val="90000"/>
              </a:lnSpc>
              <a:spcBef>
                <a:spcPts val="496"/>
              </a:spcBef>
              <a:spcAft>
                <a:spcPts val="0"/>
              </a:spcAft>
              <a:buClr>
                <a:schemeClr val="dk1"/>
              </a:buClr>
              <a:buSzPts val="1985"/>
              <a:buFont typeface="Arial"/>
              <a:buChar char="•"/>
              <a:defRPr sz="1786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290743" marR="0" lvl="7" indent="-319076" algn="l" rtl="0">
              <a:lnSpc>
                <a:spcPct val="90000"/>
              </a:lnSpc>
              <a:spcBef>
                <a:spcPts val="496"/>
              </a:spcBef>
              <a:spcAft>
                <a:spcPts val="0"/>
              </a:spcAft>
              <a:buClr>
                <a:schemeClr val="dk1"/>
              </a:buClr>
              <a:buSzPts val="1985"/>
              <a:buFont typeface="Arial"/>
              <a:buChar char="•"/>
              <a:defRPr sz="1786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702086" marR="0" lvl="8" indent="-319076" algn="l" rtl="0">
              <a:lnSpc>
                <a:spcPct val="90000"/>
              </a:lnSpc>
              <a:spcBef>
                <a:spcPts val="496"/>
              </a:spcBef>
              <a:spcAft>
                <a:spcPts val="0"/>
              </a:spcAft>
              <a:buClr>
                <a:schemeClr val="dk1"/>
              </a:buClr>
              <a:buSzPts val="1985"/>
              <a:buFont typeface="Arial"/>
              <a:buChar char="•"/>
              <a:defRPr sz="1786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36" name="Shape 36"/>
          <p:cNvSpPr txBox="1">
            <a:spLocks noGrp="1"/>
          </p:cNvSpPr>
          <p:nvPr>
            <p:ph type="ctrTitle"/>
          </p:nvPr>
        </p:nvSpPr>
        <p:spPr>
          <a:xfrm>
            <a:off x="550863" y="122157"/>
            <a:ext cx="1269578" cy="335703"/>
          </a:xfrm>
          <a:prstGeom prst="rect">
            <a:avLst/>
          </a:prstGeom>
          <a:noFill/>
          <a:ln>
            <a:noFill/>
          </a:ln>
        </p:spPr>
        <p:txBody>
          <a:bodyPr spcFirstLastPara="1" lIns="91425" tIns="91425" rIns="91425" bIns="91425" anchor="b"/>
          <a:lstStyle>
            <a:lvl1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13"/>
              <a:buFont typeface="Arial"/>
              <a:buNone/>
              <a:defRPr sz="1091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619"/>
            </a:lvl2pPr>
            <a:lvl3pPr lvl="2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619"/>
            </a:lvl3pPr>
            <a:lvl4pPr lvl="3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619"/>
            </a:lvl4pPr>
            <a:lvl5pPr lvl="4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619"/>
            </a:lvl5pPr>
            <a:lvl6pPr lvl="5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619"/>
            </a:lvl6pPr>
            <a:lvl7pPr lvl="6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619"/>
            </a:lvl7pPr>
            <a:lvl8pPr lvl="7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619"/>
            </a:lvl8pPr>
            <a:lvl9pPr lvl="8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619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49232074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Основной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550863" y="598045"/>
            <a:ext cx="11090275" cy="479422"/>
          </a:xfrm>
        </p:spPr>
        <p:txBody>
          <a:bodyPr tIns="36000" rtlCol="0"/>
          <a:lstStyle>
            <a:lvl1pPr>
              <a:defRPr lang="ru-RU" sz="2879" b="1" baseline="0" dirty="0">
                <a:solidFill>
                  <a:schemeClr val="tx1"/>
                </a:solidFill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0"/>
          </p:nvPr>
        </p:nvSpPr>
        <p:spPr>
          <a:xfrm>
            <a:off x="1019174" y="1474336"/>
            <a:ext cx="1688219" cy="224870"/>
          </a:xfrm>
          <a:noFill/>
        </p:spPr>
        <p:txBody>
          <a:bodyPr wrap="none"/>
          <a:lstStyle>
            <a:lvl1pPr>
              <a:lnSpc>
                <a:spcPct val="110000"/>
              </a:lnSpc>
              <a:defRPr sz="1440">
                <a:latin typeface="+mn-lt"/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0" name="Текст 12"/>
          <p:cNvSpPr>
            <a:spLocks noGrp="1"/>
          </p:cNvSpPr>
          <p:nvPr>
            <p:ph type="body" sz="quarter" idx="11"/>
          </p:nvPr>
        </p:nvSpPr>
        <p:spPr>
          <a:xfrm>
            <a:off x="1022145" y="6445691"/>
            <a:ext cx="886461" cy="110800"/>
          </a:xfrm>
        </p:spPr>
        <p:txBody>
          <a:bodyPr wrap="none"/>
          <a:lstStyle>
            <a:lvl1pPr>
              <a:defRPr sz="720" baseline="0">
                <a:latin typeface="+mn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3011438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Основной ">
  <p:cSld name="2_Основной ">
    <p:spTree>
      <p:nvGrpSpPr>
        <p:cNvPr id="1" name="Shape 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Google Shape;38;p7"/>
          <p:cNvSpPr txBox="1">
            <a:spLocks noGrp="1"/>
          </p:cNvSpPr>
          <p:nvPr>
            <p:ph type="subTitle" idx="1"/>
          </p:nvPr>
        </p:nvSpPr>
        <p:spPr>
          <a:xfrm>
            <a:off x="550863" y="598045"/>
            <a:ext cx="11090274" cy="434856"/>
          </a:xfrm>
          <a:prstGeom prst="rect">
            <a:avLst/>
          </a:prstGeom>
          <a:noFill/>
          <a:ln>
            <a:noFill/>
          </a:ln>
        </p:spPr>
        <p:txBody>
          <a:bodyPr spcFirstLastPara="1" tIns="36000"/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None/>
              <a:defRPr sz="2879" b="1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794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2pPr>
            <a:lvl3pPr lvl="2" algn="l">
              <a:lnSpc>
                <a:spcPct val="90000"/>
              </a:lnSpc>
              <a:spcBef>
                <a:spcPts val="496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3pPr>
            <a:lvl4pPr lvl="3" algn="l">
              <a:lnSpc>
                <a:spcPct val="90000"/>
              </a:lnSpc>
              <a:spcBef>
                <a:spcPts val="496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4pPr>
            <a:lvl5pPr lvl="4" algn="l">
              <a:lnSpc>
                <a:spcPct val="90000"/>
              </a:lnSpc>
              <a:spcBef>
                <a:spcPts val="496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5pPr>
            <a:lvl6pPr lvl="5" algn="l">
              <a:lnSpc>
                <a:spcPct val="90000"/>
              </a:lnSpc>
              <a:spcBef>
                <a:spcPts val="496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lvl="6" algn="l">
              <a:lnSpc>
                <a:spcPct val="90000"/>
              </a:lnSpc>
              <a:spcBef>
                <a:spcPts val="496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lvl="7" algn="l">
              <a:lnSpc>
                <a:spcPct val="90000"/>
              </a:lnSpc>
              <a:spcBef>
                <a:spcPts val="496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lvl="8" algn="l">
              <a:lnSpc>
                <a:spcPct val="90000"/>
              </a:lnSpc>
              <a:spcBef>
                <a:spcPts val="496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9" name="Google Shape;39;p7"/>
          <p:cNvSpPr txBox="1">
            <a:spLocks noGrp="1"/>
          </p:cNvSpPr>
          <p:nvPr>
            <p:ph type="body" idx="2"/>
          </p:nvPr>
        </p:nvSpPr>
        <p:spPr>
          <a:xfrm>
            <a:off x="1019174" y="1474336"/>
            <a:ext cx="1101880" cy="245601"/>
          </a:xfrm>
          <a:prstGeom prst="rect">
            <a:avLst/>
          </a:prstGeom>
          <a:noFill/>
          <a:ln>
            <a:noFill/>
          </a:ln>
        </p:spPr>
        <p:txBody>
          <a:bodyPr spcFirstLastPara="1"/>
          <a:lstStyle>
            <a:lvl1pPr marL="411343" lvl="0" indent="-205671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440">
                <a:latin typeface="Arial"/>
                <a:ea typeface="Arial"/>
                <a:cs typeface="Arial"/>
                <a:sym typeface="Arial"/>
              </a:defRPr>
            </a:lvl1pPr>
            <a:lvl2pPr marL="822686" lvl="1" indent="-205671" algn="l">
              <a:lnSpc>
                <a:spcPct val="100000"/>
              </a:lnSpc>
              <a:spcBef>
                <a:spcPts val="794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2pPr>
            <a:lvl3pPr marL="1234029" lvl="2" indent="-205671" algn="l">
              <a:lnSpc>
                <a:spcPct val="90000"/>
              </a:lnSpc>
              <a:spcBef>
                <a:spcPts val="496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3pPr>
            <a:lvl4pPr marL="1645371" lvl="3" indent="-205671" algn="l">
              <a:lnSpc>
                <a:spcPct val="90000"/>
              </a:lnSpc>
              <a:spcBef>
                <a:spcPts val="496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4pPr>
            <a:lvl5pPr marL="2056714" lvl="4" indent="-205671" algn="l">
              <a:lnSpc>
                <a:spcPct val="90000"/>
              </a:lnSpc>
              <a:spcBef>
                <a:spcPts val="496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5pPr>
            <a:lvl6pPr marL="2468057" lvl="5" indent="-308507" algn="l">
              <a:lnSpc>
                <a:spcPct val="90000"/>
              </a:lnSpc>
              <a:spcBef>
                <a:spcPts val="496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2879400" lvl="6" indent="-308507" algn="l">
              <a:lnSpc>
                <a:spcPct val="90000"/>
              </a:lnSpc>
              <a:spcBef>
                <a:spcPts val="496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290743" lvl="7" indent="-308507" algn="l">
              <a:lnSpc>
                <a:spcPct val="90000"/>
              </a:lnSpc>
              <a:spcBef>
                <a:spcPts val="496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3702086" lvl="8" indent="-308507" algn="l">
              <a:lnSpc>
                <a:spcPct val="90000"/>
              </a:lnSpc>
              <a:spcBef>
                <a:spcPts val="496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0" name="Google Shape;40;p7"/>
          <p:cNvSpPr txBox="1">
            <a:spLocks noGrp="1"/>
          </p:cNvSpPr>
          <p:nvPr>
            <p:ph type="body" idx="3"/>
          </p:nvPr>
        </p:nvSpPr>
        <p:spPr>
          <a:xfrm>
            <a:off x="1022145" y="6445691"/>
            <a:ext cx="442771" cy="100474"/>
          </a:xfrm>
          <a:prstGeom prst="rect">
            <a:avLst/>
          </a:prstGeom>
          <a:noFill/>
          <a:ln>
            <a:noFill/>
          </a:ln>
        </p:spPr>
        <p:txBody>
          <a:bodyPr spcFirstLastPara="1"/>
          <a:lstStyle>
            <a:lvl1pPr marL="411343" lvl="0" indent="-205671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800"/>
              <a:buNone/>
              <a:defRPr sz="720">
                <a:latin typeface="Arial"/>
                <a:ea typeface="Arial"/>
                <a:cs typeface="Arial"/>
                <a:sym typeface="Arial"/>
              </a:defRPr>
            </a:lvl1pPr>
            <a:lvl2pPr marL="822686" lvl="1" indent="-205671" algn="l">
              <a:lnSpc>
                <a:spcPct val="100000"/>
              </a:lnSpc>
              <a:spcBef>
                <a:spcPts val="794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2pPr>
            <a:lvl3pPr marL="1234029" lvl="2" indent="-205671" algn="l">
              <a:lnSpc>
                <a:spcPct val="90000"/>
              </a:lnSpc>
              <a:spcBef>
                <a:spcPts val="496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3pPr>
            <a:lvl4pPr marL="1645371" lvl="3" indent="-205671" algn="l">
              <a:lnSpc>
                <a:spcPct val="90000"/>
              </a:lnSpc>
              <a:spcBef>
                <a:spcPts val="496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4pPr>
            <a:lvl5pPr marL="2056714" lvl="4" indent="-205671" algn="l">
              <a:lnSpc>
                <a:spcPct val="90000"/>
              </a:lnSpc>
              <a:spcBef>
                <a:spcPts val="496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5pPr>
            <a:lvl6pPr marL="2468057" lvl="5" indent="-308507" algn="l">
              <a:lnSpc>
                <a:spcPct val="90000"/>
              </a:lnSpc>
              <a:spcBef>
                <a:spcPts val="496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2879400" lvl="6" indent="-308507" algn="l">
              <a:lnSpc>
                <a:spcPct val="90000"/>
              </a:lnSpc>
              <a:spcBef>
                <a:spcPts val="496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290743" lvl="7" indent="-308507" algn="l">
              <a:lnSpc>
                <a:spcPct val="90000"/>
              </a:lnSpc>
              <a:spcBef>
                <a:spcPts val="496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3702086" lvl="8" indent="-308507" algn="l">
              <a:lnSpc>
                <a:spcPct val="90000"/>
              </a:lnSpc>
              <a:spcBef>
                <a:spcPts val="496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18667405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2_Основной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9" name="Shape 20"/>
          <p:cNvGrpSpPr/>
          <p:nvPr/>
        </p:nvGrpSpPr>
        <p:grpSpPr>
          <a:xfrm>
            <a:off x="251930" y="90768"/>
            <a:ext cx="889978" cy="1030600"/>
            <a:chOff x="329724" y="87836"/>
            <a:chExt cx="989173" cy="1135566"/>
          </a:xfrm>
        </p:grpSpPr>
        <p:sp>
          <p:nvSpPr>
            <p:cNvPr id="97" name="Shape 21"/>
            <p:cNvSpPr/>
            <p:nvPr/>
          </p:nvSpPr>
          <p:spPr>
            <a:xfrm rot="5400000">
              <a:off x="256527" y="161033"/>
              <a:ext cx="1135568" cy="989174"/>
            </a:xfrm>
            <a:prstGeom prst="triangle">
              <a:avLst/>
            </a:prstGeom>
            <a:solidFill>
              <a:srgbClr val="FFF200"/>
            </a:solidFill>
            <a:ln w="25400" cap="flat">
              <a:solidFill>
                <a:srgbClr val="FFF200"/>
              </a:solidFill>
              <a:prstDash val="solid"/>
              <a:round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>
                <a:defRPr sz="1800">
                  <a:solidFill>
                    <a:srgbClr val="FFFFFF"/>
                  </a:solidFill>
                </a:defRPr>
              </a:pPr>
              <a:endParaRPr sz="1619"/>
            </a:p>
          </p:txBody>
        </p:sp>
        <p:sp>
          <p:nvSpPr>
            <p:cNvPr id="98" name="Shape 22"/>
            <p:cNvSpPr/>
            <p:nvPr/>
          </p:nvSpPr>
          <p:spPr>
            <a:xfrm rot="5400000">
              <a:off x="1054114" y="428208"/>
              <a:ext cx="250207" cy="203072"/>
            </a:xfrm>
            <a:prstGeom prst="triangle">
              <a:avLst/>
            </a:prstGeom>
            <a:noFill/>
            <a:ln w="41275" cap="flat">
              <a:solidFill>
                <a:srgbClr val="4D5158"/>
              </a:solidFill>
              <a:prstDash val="solid"/>
              <a:miter lim="8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>
                <a:defRPr sz="1800">
                  <a:solidFill>
                    <a:srgbClr val="FFFFFF"/>
                  </a:solidFill>
                </a:defRPr>
              </a:pPr>
              <a:endParaRPr sz="1619"/>
            </a:p>
          </p:txBody>
        </p:sp>
      </p:grpSp>
      <p:sp>
        <p:nvSpPr>
          <p:cNvPr id="100" name="Shape 25"/>
          <p:cNvSpPr/>
          <p:nvPr/>
        </p:nvSpPr>
        <p:spPr>
          <a:xfrm>
            <a:off x="550861" y="660"/>
            <a:ext cx="11090274" cy="83411"/>
          </a:xfrm>
          <a:prstGeom prst="rect">
            <a:avLst/>
          </a:prstGeom>
          <a:solidFill>
            <a:srgbClr val="FFF200"/>
          </a:solidFill>
          <a:ln w="12700">
            <a:miter lim="400000"/>
          </a:ln>
        </p:spPr>
        <p:txBody>
          <a:bodyPr lIns="41133" tIns="41133" rIns="41133" bIns="41133" anchor="ctr"/>
          <a:lstStyle/>
          <a:p>
            <a:pPr algn="ctr">
              <a:defRPr sz="1900">
                <a:solidFill>
                  <a:srgbClr val="FFFFFF"/>
                </a:solidFill>
              </a:defRPr>
            </a:pPr>
            <a:endParaRPr sz="1709"/>
          </a:p>
        </p:txBody>
      </p:sp>
      <p:pic>
        <p:nvPicPr>
          <p:cNvPr id="101" name="Shape 26" descr="Shape 2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524575" y="209013"/>
            <a:ext cx="1138992" cy="276628"/>
          </a:xfrm>
          <a:prstGeom prst="rect">
            <a:avLst/>
          </a:prstGeom>
          <a:ln w="12700">
            <a:miter lim="400000"/>
          </a:ln>
        </p:spPr>
      </p:pic>
      <p:sp>
        <p:nvSpPr>
          <p:cNvPr id="102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550863" y="598546"/>
            <a:ext cx="11090275" cy="2574423"/>
          </a:xfrm>
          <a:prstGeom prst="rect">
            <a:avLst/>
          </a:prstGeom>
        </p:spPr>
        <p:txBody>
          <a:bodyPr lIns="0" tIns="0" rIns="0" bIns="0"/>
          <a:lstStyle>
            <a:lvl1pPr>
              <a:defRPr sz="2879" b="1"/>
            </a:lvl1pPr>
            <a:lvl2pPr>
              <a:defRPr sz="2879" b="1"/>
            </a:lvl2pPr>
            <a:lvl3pPr>
              <a:defRPr sz="2879" b="1"/>
            </a:lvl3pPr>
            <a:lvl4pPr>
              <a:defRPr sz="2879" b="1"/>
            </a:lvl4pPr>
            <a:lvl5pPr>
              <a:defRPr sz="2879" b="1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103" name="Shape 54"/>
          <p:cNvSpPr txBox="1">
            <a:spLocks noGrp="1"/>
          </p:cNvSpPr>
          <p:nvPr>
            <p:ph type="body" sz="quarter" idx="13"/>
          </p:nvPr>
        </p:nvSpPr>
        <p:spPr>
          <a:xfrm>
            <a:off x="1019174" y="1475572"/>
            <a:ext cx="1101883" cy="245810"/>
          </a:xfrm>
          <a:prstGeom prst="rect">
            <a:avLst/>
          </a:prstGeom>
        </p:spPr>
        <p:txBody>
          <a:bodyPr/>
          <a:lstStyle/>
          <a:p>
            <a:endParaRPr/>
          </a:p>
        </p:txBody>
      </p:sp>
      <p:sp>
        <p:nvSpPr>
          <p:cNvPr id="104" name="Shape 55"/>
          <p:cNvSpPr txBox="1">
            <a:spLocks noGrp="1"/>
          </p:cNvSpPr>
          <p:nvPr>
            <p:ph type="body" sz="quarter" idx="14"/>
          </p:nvPr>
        </p:nvSpPr>
        <p:spPr>
          <a:xfrm>
            <a:off x="1022143" y="6451108"/>
            <a:ext cx="442775" cy="246221"/>
          </a:xfrm>
          <a:prstGeom prst="rect">
            <a:avLst/>
          </a:prstGeom>
        </p:spPr>
        <p:txBody>
          <a:bodyPr/>
          <a:lstStyle/>
          <a:p>
            <a:endParaRPr/>
          </a:p>
        </p:txBody>
      </p:sp>
      <p:sp>
        <p:nvSpPr>
          <p:cNvPr id="105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550862" y="305767"/>
            <a:ext cx="1269581" cy="152480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1080" b="0">
                <a:solidFill>
                  <a:srgbClr val="E7E6E6"/>
                </a:solidFill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106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8491391" y="6143987"/>
            <a:ext cx="246210" cy="424728"/>
          </a:xfrm>
          <a:prstGeom prst="rect">
            <a:avLst/>
          </a:prstGeom>
        </p:spPr>
        <p:txBody>
          <a:bodyPr lIns="45718" tIns="45718" rIns="45718" bIns="45718" anchor="ctr"/>
          <a:lstStyle>
            <a:lvl1pPr>
              <a:defRPr sz="1080">
                <a:solidFill>
                  <a:srgbClr val="000000"/>
                </a:solidFill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554525259"/>
      </p:ext>
    </p:extLst>
  </p:cSld>
  <p:clrMapOvr>
    <a:masterClrMapping/>
  </p:clrMapOvr>
  <p:transition spd="med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итульный слайд с фотоизображением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6">
            <a:extLst>
              <a:ext uri="{FF2B5EF4-FFF2-40B4-BE49-F238E27FC236}">
                <a16:creationId xmlns:a16="http://schemas.microsoft.com/office/drawing/2014/main" id="{B4750B5A-2E74-654F-97DD-6B315BA76494}"/>
              </a:ext>
            </a:extLst>
          </p:cNvPr>
          <p:cNvSpPr/>
          <p:nvPr userDrawn="1"/>
        </p:nvSpPr>
        <p:spPr>
          <a:xfrm>
            <a:off x="758825" y="0"/>
            <a:ext cx="6107113" cy="6858000"/>
          </a:xfrm>
          <a:prstGeom prst="rect">
            <a:avLst/>
          </a:prstGeom>
          <a:solidFill>
            <a:srgbClr val="181C2B">
              <a:alpha val="7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pic>
        <p:nvPicPr>
          <p:cNvPr id="5" name="Picture 3">
            <a:extLst>
              <a:ext uri="{FF2B5EF4-FFF2-40B4-BE49-F238E27FC236}">
                <a16:creationId xmlns:a16="http://schemas.microsoft.com/office/drawing/2014/main" id="{EFEF0BDD-CD03-FA4D-A100-B88F3474CB6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175" y="0"/>
            <a:ext cx="76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Заголовок 1"/>
          <p:cNvSpPr>
            <a:spLocks noGrp="1"/>
          </p:cNvSpPr>
          <p:nvPr>
            <p:ph type="ctrTitle"/>
          </p:nvPr>
        </p:nvSpPr>
        <p:spPr>
          <a:xfrm>
            <a:off x="1149881" y="1144588"/>
            <a:ext cx="5322357" cy="553998"/>
          </a:xfrm>
        </p:spPr>
        <p:txBody>
          <a:bodyPr/>
          <a:lstStyle>
            <a:lvl1pPr algn="l">
              <a:defRPr sz="4000" b="0" i="0" cap="none" baseline="0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1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149881" y="1906588"/>
            <a:ext cx="5322358" cy="33239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 b="0" i="0" baseline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345624165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Основной слайд">
    <p:bg>
      <p:bgPr>
        <a:blipFill dpi="0" rotWithShape="1">
          <a:blip r:embed="rId2">
            <a:lum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artisticBlur radius="12"/>
                    </a14:imgEffect>
                  </a14:imgLayer>
                </a14:imgProps>
              </a:ext>
            </a:extLst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767291" y="478121"/>
            <a:ext cx="7228947" cy="1218795"/>
          </a:xfrm>
        </p:spPr>
        <p:txBody>
          <a:bodyPr/>
          <a:lstStyle>
            <a:lvl1pPr>
              <a:defRPr sz="4400" b="0" i="0" cap="none" baseline="0">
                <a:latin typeface="Century Gothic" panose="020B0502020202020204" pitchFamily="34" charset="0"/>
              </a:defRPr>
            </a:lvl1pPr>
          </a:lstStyle>
          <a:p>
            <a:r>
              <a:rPr lang="ru-RU" dirty="0"/>
              <a:t>Основной </a:t>
            </a:r>
            <a:br>
              <a:rPr lang="ru-RU" dirty="0"/>
            </a:br>
            <a:r>
              <a:rPr lang="ru-RU" dirty="0"/>
              <a:t>слайд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88" y="0"/>
            <a:ext cx="381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404304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31800" y="238539"/>
            <a:ext cx="11329456" cy="612000"/>
          </a:xfr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/>
            </a:lvl1pPr>
          </a:lstStyle>
          <a:p>
            <a:r>
              <a:rPr lang="ru-RU" dirty="0"/>
              <a:t>Заголовок</a:t>
            </a:r>
            <a:endParaRPr lang="de-DE" dirty="0"/>
          </a:p>
        </p:txBody>
      </p:sp>
      <p:sp>
        <p:nvSpPr>
          <p:cNvPr id="4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520000" y="-12499"/>
            <a:ext cx="672000" cy="27699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DC1E638-3F78-4E0D-883A-B278700C48C0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5285421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Титульный слайд с фотоизображением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6">
            <a:extLst>
              <a:ext uri="{FF2B5EF4-FFF2-40B4-BE49-F238E27FC236}">
                <a16:creationId xmlns:a16="http://schemas.microsoft.com/office/drawing/2014/main" id="{4D696FF8-9410-B84D-BB28-843C1C1CEED2}"/>
              </a:ext>
            </a:extLst>
          </p:cNvPr>
          <p:cNvSpPr/>
          <p:nvPr userDrawn="1"/>
        </p:nvSpPr>
        <p:spPr>
          <a:xfrm>
            <a:off x="758825" y="0"/>
            <a:ext cx="6107113" cy="6858000"/>
          </a:xfrm>
          <a:prstGeom prst="rect">
            <a:avLst/>
          </a:prstGeom>
          <a:solidFill>
            <a:srgbClr val="181C2B">
              <a:alpha val="7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pic>
        <p:nvPicPr>
          <p:cNvPr id="5" name="Picture 3">
            <a:extLst>
              <a:ext uri="{FF2B5EF4-FFF2-40B4-BE49-F238E27FC236}">
                <a16:creationId xmlns:a16="http://schemas.microsoft.com/office/drawing/2014/main" id="{F501E615-3ED8-D841-BD88-CE8B3AD1367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175" y="0"/>
            <a:ext cx="76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Заголовок 1"/>
          <p:cNvSpPr>
            <a:spLocks noGrp="1"/>
          </p:cNvSpPr>
          <p:nvPr>
            <p:ph type="ctrTitle"/>
          </p:nvPr>
        </p:nvSpPr>
        <p:spPr>
          <a:xfrm>
            <a:off x="1149881" y="1144588"/>
            <a:ext cx="5322357" cy="553998"/>
          </a:xfrm>
        </p:spPr>
        <p:txBody>
          <a:bodyPr/>
          <a:lstStyle>
            <a:lvl1pPr algn="l">
              <a:defRPr sz="4000" b="0" i="0" cap="none" baseline="0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1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149881" y="1906588"/>
            <a:ext cx="5322358" cy="33239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 b="0" i="0" baseline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32379448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Титульный слайд с фотоизображением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6">
            <a:extLst>
              <a:ext uri="{FF2B5EF4-FFF2-40B4-BE49-F238E27FC236}">
                <a16:creationId xmlns:a16="http://schemas.microsoft.com/office/drawing/2014/main" id="{D09F47DF-DB4D-3445-A6DB-29B91CF6825B}"/>
              </a:ext>
            </a:extLst>
          </p:cNvPr>
          <p:cNvSpPr/>
          <p:nvPr userDrawn="1"/>
        </p:nvSpPr>
        <p:spPr>
          <a:xfrm>
            <a:off x="758825" y="0"/>
            <a:ext cx="6107113" cy="6858000"/>
          </a:xfrm>
          <a:prstGeom prst="rect">
            <a:avLst/>
          </a:prstGeom>
          <a:solidFill>
            <a:srgbClr val="181C2B">
              <a:alpha val="7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pic>
        <p:nvPicPr>
          <p:cNvPr id="5" name="Picture 3">
            <a:extLst>
              <a:ext uri="{FF2B5EF4-FFF2-40B4-BE49-F238E27FC236}">
                <a16:creationId xmlns:a16="http://schemas.microsoft.com/office/drawing/2014/main" id="{3DD1943F-A3ED-AF47-9B0C-587C853E425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175" y="0"/>
            <a:ext cx="76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Заголовок 1"/>
          <p:cNvSpPr>
            <a:spLocks noGrp="1"/>
          </p:cNvSpPr>
          <p:nvPr>
            <p:ph type="ctrTitle"/>
          </p:nvPr>
        </p:nvSpPr>
        <p:spPr>
          <a:xfrm>
            <a:off x="1149881" y="1144588"/>
            <a:ext cx="5322357" cy="553998"/>
          </a:xfrm>
        </p:spPr>
        <p:txBody>
          <a:bodyPr/>
          <a:lstStyle>
            <a:lvl1pPr algn="l">
              <a:defRPr sz="4000" b="0" i="0" cap="none" baseline="0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1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149881" y="1906588"/>
            <a:ext cx="5322358" cy="33239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 b="0" i="0" baseline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258129737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bg>
      <p:bgPr>
        <a:solidFill>
          <a:srgbClr val="7F7F7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6">
            <a:extLst>
              <a:ext uri="{FF2B5EF4-FFF2-40B4-BE49-F238E27FC236}">
                <a16:creationId xmlns:a16="http://schemas.microsoft.com/office/drawing/2014/main" id="{CE12BECF-54AD-0541-BE40-0D3316F01168}"/>
              </a:ext>
            </a:extLst>
          </p:cNvPr>
          <p:cNvSpPr/>
          <p:nvPr userDrawn="1"/>
        </p:nvSpPr>
        <p:spPr>
          <a:xfrm>
            <a:off x="763588" y="0"/>
            <a:ext cx="9898062" cy="6858000"/>
          </a:xfrm>
          <a:prstGeom prst="rect">
            <a:avLst/>
          </a:prstGeom>
          <a:solidFill>
            <a:srgbClr val="181C2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pic>
        <p:nvPicPr>
          <p:cNvPr id="5" name="Picture 3">
            <a:extLst>
              <a:ext uri="{FF2B5EF4-FFF2-40B4-BE49-F238E27FC236}">
                <a16:creationId xmlns:a16="http://schemas.microsoft.com/office/drawing/2014/main" id="{8F485140-D803-C949-8A98-4F8B35D9AC4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175" y="0"/>
            <a:ext cx="76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Заголовок 1"/>
          <p:cNvSpPr>
            <a:spLocks noGrp="1"/>
          </p:cNvSpPr>
          <p:nvPr>
            <p:ph type="ctrTitle"/>
          </p:nvPr>
        </p:nvSpPr>
        <p:spPr>
          <a:xfrm>
            <a:off x="1149881" y="1144588"/>
            <a:ext cx="5322357" cy="553998"/>
          </a:xfrm>
        </p:spPr>
        <p:txBody>
          <a:bodyPr/>
          <a:lstStyle>
            <a:lvl1pPr algn="l">
              <a:defRPr sz="4000" b="0" i="0" cap="none" baseline="0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1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149881" y="1906588"/>
            <a:ext cx="5322358" cy="33239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 b="0" i="0" baseline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284431419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Разделитель первого уровня">
    <p:bg>
      <p:bgPr>
        <a:solidFill>
          <a:srgbClr val="181C2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6">
            <a:extLst>
              <a:ext uri="{FF2B5EF4-FFF2-40B4-BE49-F238E27FC236}">
                <a16:creationId xmlns:a16="http://schemas.microsoft.com/office/drawing/2014/main" id="{57A2647C-B154-6C43-A97F-E9683F33561C}"/>
              </a:ext>
            </a:extLst>
          </p:cNvPr>
          <p:cNvSpPr/>
          <p:nvPr userDrawn="1"/>
        </p:nvSpPr>
        <p:spPr>
          <a:xfrm>
            <a:off x="11801475" y="0"/>
            <a:ext cx="390525" cy="6858000"/>
          </a:xfrm>
          <a:prstGeom prst="rect">
            <a:avLst/>
          </a:prstGeom>
          <a:solidFill>
            <a:srgbClr val="7F7F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pic>
        <p:nvPicPr>
          <p:cNvPr id="5" name="Picture 3">
            <a:extLst>
              <a:ext uri="{FF2B5EF4-FFF2-40B4-BE49-F238E27FC236}">
                <a16:creationId xmlns:a16="http://schemas.microsoft.com/office/drawing/2014/main" id="{736B5CFC-E7F5-9E40-98B0-C5ED71CB0AF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175" y="0"/>
            <a:ext cx="76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Заголовок 1"/>
          <p:cNvSpPr>
            <a:spLocks noGrp="1"/>
          </p:cNvSpPr>
          <p:nvPr>
            <p:ph type="ctrTitle"/>
          </p:nvPr>
        </p:nvSpPr>
        <p:spPr>
          <a:xfrm>
            <a:off x="1149881" y="1144588"/>
            <a:ext cx="5322357" cy="553998"/>
          </a:xfrm>
        </p:spPr>
        <p:txBody>
          <a:bodyPr/>
          <a:lstStyle>
            <a:lvl1pPr algn="l">
              <a:defRPr sz="4000" b="0" i="0" cap="none" baseline="0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15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149881" y="1906588"/>
            <a:ext cx="5322358" cy="33239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 b="0" i="0" baseline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347745456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Разделитель второго уровня">
    <p:bg>
      <p:bgPr>
        <a:solidFill>
          <a:srgbClr val="EBEBE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6">
            <a:extLst>
              <a:ext uri="{FF2B5EF4-FFF2-40B4-BE49-F238E27FC236}">
                <a16:creationId xmlns:a16="http://schemas.microsoft.com/office/drawing/2014/main" id="{14D344FB-A428-A644-90B4-A291A5D96239}"/>
              </a:ext>
            </a:extLst>
          </p:cNvPr>
          <p:cNvSpPr/>
          <p:nvPr userDrawn="1"/>
        </p:nvSpPr>
        <p:spPr>
          <a:xfrm>
            <a:off x="11801475" y="0"/>
            <a:ext cx="390525" cy="6858000"/>
          </a:xfrm>
          <a:prstGeom prst="rect">
            <a:avLst/>
          </a:prstGeom>
          <a:solidFill>
            <a:srgbClr val="7F7F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pic>
        <p:nvPicPr>
          <p:cNvPr id="5" name="Picture 3">
            <a:extLst>
              <a:ext uri="{FF2B5EF4-FFF2-40B4-BE49-F238E27FC236}">
                <a16:creationId xmlns:a16="http://schemas.microsoft.com/office/drawing/2014/main" id="{C2141C91-4200-324D-BF9D-DACFB810D84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175" y="0"/>
            <a:ext cx="76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Заголовок 1"/>
          <p:cNvSpPr>
            <a:spLocks noGrp="1"/>
          </p:cNvSpPr>
          <p:nvPr>
            <p:ph type="ctrTitle"/>
          </p:nvPr>
        </p:nvSpPr>
        <p:spPr>
          <a:xfrm>
            <a:off x="1149881" y="1144588"/>
            <a:ext cx="5322357" cy="553998"/>
          </a:xfrm>
        </p:spPr>
        <p:txBody>
          <a:bodyPr/>
          <a:lstStyle>
            <a:lvl1pPr algn="l">
              <a:defRPr sz="4000" b="0" i="0" cap="none" baseline="0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15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149881" y="1906588"/>
            <a:ext cx="5322358" cy="36933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 b="0" i="0" baseline="0">
                <a:solidFill>
                  <a:schemeClr val="tx1">
                    <a:lumMod val="50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246466103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8_Основной слайд">
    <p:bg>
      <p:bgPr>
        <a:blipFill dpi="0" rotWithShape="1">
          <a:blip r:embed="rId2">
            <a:lum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artisticBlur radius="15"/>
                    </a14:imgEffect>
                  </a14:imgLayer>
                </a14:imgProps>
              </a:ext>
            </a:extLst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idx="1" hasCustomPrompt="1"/>
          </p:nvPr>
        </p:nvSpPr>
        <p:spPr>
          <a:xfrm>
            <a:off x="762001" y="2282824"/>
            <a:ext cx="4951414" cy="24622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1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767291" y="478121"/>
            <a:ext cx="7228947" cy="1218795"/>
          </a:xfrm>
        </p:spPr>
        <p:txBody>
          <a:bodyPr/>
          <a:lstStyle>
            <a:lvl1pPr>
              <a:defRPr sz="4400" b="0" i="0" cap="none" baseline="0">
                <a:latin typeface="Century Gothic" panose="020B0502020202020204" pitchFamily="34" charset="0"/>
              </a:defRPr>
            </a:lvl1pPr>
          </a:lstStyle>
          <a:p>
            <a:r>
              <a:rPr lang="ru-RU" dirty="0"/>
              <a:t>Основной </a:t>
            </a:r>
            <a:br>
              <a:rPr lang="ru-RU" dirty="0"/>
            </a:br>
            <a:r>
              <a:rPr lang="ru-RU" dirty="0"/>
              <a:t>слайд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88" y="0"/>
            <a:ext cx="381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282888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theme" Target="../theme/theme1.xml"/><Relationship Id="rId37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34"/>
            </p:custDataLst>
            <p:extLst>
              <p:ext uri="{D42A27DB-BD31-4B8C-83A1-F6EECF244321}">
                <p14:modId xmlns:p14="http://schemas.microsoft.com/office/powerpoint/2010/main" val="3849376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" name="think-cell Slide" r:id="rId36" imgW="416" imgH="416" progId="TCLayout.ActiveDocument.1">
                  <p:embed/>
                </p:oleObj>
              </mc:Choice>
              <mc:Fallback>
                <p:oleObj name="think-cell Slide" r:id="rId36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0"/>
            <a:endParaRPr lang="ru-RU" sz="2600" b="0" i="0" baseline="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26" name="Заголовок 1">
            <a:extLst>
              <a:ext uri="{FF2B5EF4-FFF2-40B4-BE49-F238E27FC236}">
                <a16:creationId xmlns:a16="http://schemas.microsoft.com/office/drawing/2014/main" id="{38EBDB47-19EF-C847-A74A-D200522C4087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838200" y="365125"/>
            <a:ext cx="10515600" cy="360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9E313CAC-B6C4-6B43-BCBB-0A390269538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82588" y="6472238"/>
            <a:ext cx="4114800" cy="200025"/>
          </a:xfrm>
          <a:prstGeom prst="rect">
            <a:avLst/>
          </a:prstGeom>
        </p:spPr>
        <p:txBody>
          <a:bodyPr vert="horz" lIns="0" tIns="0" rIns="91440" bIns="45720" rtlCol="0" anchor="t" anchorCtr="0">
            <a:spAutoFit/>
          </a:bodyPr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lang="en-US" sz="1000" b="0" i="0">
                <a:effectLst/>
                <a:latin typeface="+mn-lt"/>
              </a:defRPr>
            </a:lvl1pPr>
          </a:lstStyle>
          <a:p>
            <a:pPr>
              <a:defRPr/>
            </a:pPr>
            <a:r>
              <a:rPr lang="ru-RU"/>
              <a:t>Нижний </a:t>
            </a:r>
            <a:r>
              <a:rPr lang="ru-RU" err="1"/>
              <a:t>коллонтитул</a:t>
            </a:r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1E9E016D-F5AC-B340-9F84-4E56303CCC3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44238" y="6472238"/>
            <a:ext cx="765175" cy="15398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000" b="0" i="0">
                <a:solidFill>
                  <a:srgbClr val="000000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>
              <a:defRPr/>
            </a:pPr>
            <a:fld id="{8ACBD6EA-ABDB-5549-8164-A0F3DE43174C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  <p:sp>
        <p:nvSpPr>
          <p:cNvPr id="1029" name="Текст 7">
            <a:extLst>
              <a:ext uri="{FF2B5EF4-FFF2-40B4-BE49-F238E27FC236}">
                <a16:creationId xmlns:a16="http://schemas.microsoft.com/office/drawing/2014/main" id="{3D318317-8555-7945-9704-46B7921AF934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xfrm>
            <a:off x="838200" y="1825625"/>
            <a:ext cx="10515600" cy="1590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74" r:id="rId1"/>
    <p:sldLayoutId id="2147483904" r:id="rId2"/>
    <p:sldLayoutId id="2147483875" r:id="rId3"/>
    <p:sldLayoutId id="2147483876" r:id="rId4"/>
    <p:sldLayoutId id="2147483877" r:id="rId5"/>
    <p:sldLayoutId id="2147483878" r:id="rId6"/>
    <p:sldLayoutId id="2147483879" r:id="rId7"/>
    <p:sldLayoutId id="2147483880" r:id="rId8"/>
    <p:sldLayoutId id="2147483905" r:id="rId9"/>
    <p:sldLayoutId id="2147483906" r:id="rId10"/>
    <p:sldLayoutId id="2147483881" r:id="rId11"/>
    <p:sldLayoutId id="2147483882" r:id="rId12"/>
    <p:sldLayoutId id="2147483883" r:id="rId13"/>
    <p:sldLayoutId id="2147483884" r:id="rId14"/>
    <p:sldLayoutId id="2147483885" r:id="rId15"/>
    <p:sldLayoutId id="2147483886" r:id="rId16"/>
    <p:sldLayoutId id="2147483887" r:id="rId17"/>
    <p:sldLayoutId id="2147483888" r:id="rId18"/>
    <p:sldLayoutId id="2147483889" r:id="rId19"/>
    <p:sldLayoutId id="2147483890" r:id="rId20"/>
    <p:sldLayoutId id="2147483891" r:id="rId21"/>
    <p:sldLayoutId id="2147483892" r:id="rId22"/>
    <p:sldLayoutId id="2147483893" r:id="rId23"/>
    <p:sldLayoutId id="2147483894" r:id="rId24"/>
    <p:sldLayoutId id="2147483895" r:id="rId25"/>
    <p:sldLayoutId id="2147483896" r:id="rId26"/>
    <p:sldLayoutId id="2147483897" r:id="rId27"/>
    <p:sldLayoutId id="2147483898" r:id="rId28"/>
    <p:sldLayoutId id="2147483899" r:id="rId29"/>
    <p:sldLayoutId id="2147483907" r:id="rId30"/>
    <p:sldLayoutId id="2147483908" r:id="rId31"/>
  </p:sldLayoutIdLst>
  <p:hf hdr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600" kern="1200">
          <a:solidFill>
            <a:srgbClr val="000000"/>
          </a:solidFill>
          <a:latin typeface="Arial" charset="0"/>
          <a:ea typeface="Arial" charset="0"/>
          <a:cs typeface="Arial" charset="0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600">
          <a:solidFill>
            <a:srgbClr val="000000"/>
          </a:solidFill>
          <a:latin typeface="Arial" panose="020B0604020202020204" pitchFamily="34" charset="0"/>
          <a:cs typeface="Arial" panose="020B0604020202020204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600">
          <a:solidFill>
            <a:srgbClr val="000000"/>
          </a:solidFill>
          <a:latin typeface="Arial" panose="020B0604020202020204" pitchFamily="34" charset="0"/>
          <a:cs typeface="Arial" panose="020B0604020202020204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600">
          <a:solidFill>
            <a:srgbClr val="000000"/>
          </a:solidFill>
          <a:latin typeface="Arial" panose="020B0604020202020204" pitchFamily="34" charset="0"/>
          <a:cs typeface="Arial" panose="020B0604020202020204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600">
          <a:solidFill>
            <a:srgbClr val="000000"/>
          </a:solidFill>
          <a:latin typeface="Arial" panose="020B0604020202020204" pitchFamily="34" charset="0"/>
          <a:cs typeface="Arial" panose="020B0604020202020204" pitchFamily="34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2600">
          <a:solidFill>
            <a:srgbClr val="000000"/>
          </a:solidFill>
          <a:latin typeface="Arial" panose="020B0604020202020204" pitchFamily="34" charset="0"/>
          <a:cs typeface="Arial" panose="020B0604020202020204" pitchFamily="34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2600">
          <a:solidFill>
            <a:srgbClr val="000000"/>
          </a:solidFill>
          <a:latin typeface="Arial" panose="020B0604020202020204" pitchFamily="34" charset="0"/>
          <a:cs typeface="Arial" panose="020B0604020202020204" pitchFamily="34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2600">
          <a:solidFill>
            <a:srgbClr val="000000"/>
          </a:solidFill>
          <a:latin typeface="Arial" panose="020B0604020202020204" pitchFamily="34" charset="0"/>
          <a:cs typeface="Arial" panose="020B0604020202020204" pitchFamily="34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2600">
          <a:solidFill>
            <a:srgbClr val="000000"/>
          </a:solidFill>
          <a:latin typeface="Arial" panose="020B0604020202020204" pitchFamily="34" charset="0"/>
          <a:cs typeface="Arial" panose="020B0604020202020204" pitchFamily="34" charset="0"/>
        </a:defRPr>
      </a:lvl9pPr>
    </p:titleStyle>
    <p:bodyStyle>
      <a:lvl1pPr marL="342900" indent="-342900" algn="l" rtl="0" eaLnBrk="0" fontAlgn="base" hangingPunct="0">
        <a:spcBef>
          <a:spcPts val="800"/>
        </a:spcBef>
        <a:spcAft>
          <a:spcPct val="0"/>
        </a:spcAft>
        <a:buClr>
          <a:srgbClr val="191919"/>
        </a:buClr>
        <a:buFont typeface="Arial" panose="020B0604020202020204" pitchFamily="34" charset="0"/>
        <a:buChar char="•"/>
        <a:defRPr sz="1600" kern="1200">
          <a:solidFill>
            <a:srgbClr val="262626"/>
          </a:solidFill>
          <a:latin typeface="Arial" charset="0"/>
          <a:ea typeface="Arial" charset="0"/>
          <a:cs typeface="Arial" charset="0"/>
        </a:defRPr>
      </a:lvl1pPr>
      <a:lvl2pPr marL="685800" indent="-228600" algn="l" rtl="0" eaLnBrk="0" fontAlgn="base" hangingPunct="0">
        <a:spcBef>
          <a:spcPts val="800"/>
        </a:spcBef>
        <a:spcAft>
          <a:spcPct val="0"/>
        </a:spcAft>
        <a:buClr>
          <a:srgbClr val="191919"/>
        </a:buClr>
        <a:buFont typeface="Arial" panose="020B0604020202020204" pitchFamily="34" charset="0"/>
        <a:buChar char="•"/>
        <a:defRPr sz="1600" kern="1200">
          <a:solidFill>
            <a:srgbClr val="262626"/>
          </a:solidFill>
          <a:latin typeface="Arial" charset="0"/>
          <a:ea typeface="Arial" charset="0"/>
          <a:cs typeface="Arial" charset="0"/>
        </a:defRPr>
      </a:lvl2pPr>
      <a:lvl3pPr marL="1143000" indent="-228600" algn="l" rtl="0" eaLnBrk="0" fontAlgn="base" hangingPunct="0">
        <a:spcBef>
          <a:spcPts val="800"/>
        </a:spcBef>
        <a:spcAft>
          <a:spcPct val="0"/>
        </a:spcAft>
        <a:buClr>
          <a:srgbClr val="191919"/>
        </a:buClr>
        <a:buFont typeface="Arial" panose="020B0604020202020204" pitchFamily="34" charset="0"/>
        <a:buChar char="•"/>
        <a:defRPr sz="1600" kern="1200">
          <a:solidFill>
            <a:srgbClr val="262626"/>
          </a:solidFill>
          <a:latin typeface="Arial" charset="0"/>
          <a:ea typeface="Arial" charset="0"/>
          <a:cs typeface="Arial" charset="0"/>
        </a:defRPr>
      </a:lvl3pPr>
      <a:lvl4pPr marL="1600200" indent="-228600" algn="l" rtl="0" eaLnBrk="0" fontAlgn="base" hangingPunct="0">
        <a:spcBef>
          <a:spcPts val="600"/>
        </a:spcBef>
        <a:spcAft>
          <a:spcPct val="0"/>
        </a:spcAft>
        <a:buClr>
          <a:srgbClr val="191919"/>
        </a:buClr>
        <a:buFont typeface="Arial" panose="020B0604020202020204" pitchFamily="34" charset="0"/>
        <a:buChar char="•"/>
        <a:defRPr sz="1600" kern="1200">
          <a:solidFill>
            <a:srgbClr val="858585"/>
          </a:solidFill>
          <a:latin typeface="Arial" charset="0"/>
          <a:ea typeface="Arial" charset="0"/>
          <a:cs typeface="Arial" charset="0"/>
        </a:defRPr>
      </a:lvl4pPr>
      <a:lvl5pPr marL="2057400" indent="-228600" algn="l" rtl="0" eaLnBrk="0" fontAlgn="base" hangingPunct="0">
        <a:spcBef>
          <a:spcPts val="600"/>
        </a:spcBef>
        <a:spcAft>
          <a:spcPct val="0"/>
        </a:spcAft>
        <a:buClr>
          <a:srgbClr val="191919"/>
        </a:buClr>
        <a:buFont typeface="Arial" panose="020B0604020202020204" pitchFamily="34" charset="0"/>
        <a:buChar char="•"/>
        <a:defRPr sz="1600" kern="1200">
          <a:solidFill>
            <a:srgbClr val="858585"/>
          </a:solidFill>
          <a:latin typeface="Arial" charset="0"/>
          <a:ea typeface="Arial" charset="0"/>
          <a:cs typeface="Arial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9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830309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think-cell Slide" r:id="rId5" imgW="416" imgH="416" progId="TCLayout.ActiveDocument.1">
                  <p:embed/>
                </p:oleObj>
              </mc:Choice>
              <mc:Fallback>
                <p:oleObj name="think-cell Slide" r:id="rId5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4400" b="1" dirty="0">
              <a:latin typeface="Century Gothic" panose="020B0502020202020204" pitchFamily="34" charset="0"/>
              <a:cs typeface="Arial" panose="020B0604020202020204" pitchFamily="34" charset="0"/>
              <a:sym typeface="Century Gothic" panose="020B0502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9880" y="1144588"/>
            <a:ext cx="7835093" cy="609398"/>
          </a:xfrm>
        </p:spPr>
        <p:txBody>
          <a:bodyPr/>
          <a:lstStyle/>
          <a:p>
            <a:r>
              <a:rPr lang="ru-RU" sz="4400" b="1" dirty="0">
                <a:latin typeface="Century Gothic" panose="020B0502020202020204" pitchFamily="34" charset="0"/>
              </a:rPr>
              <a:t>Введение в разработку ПО</a:t>
            </a:r>
            <a:endParaRPr lang="ru-RU" sz="4400" b="1" dirty="0"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302377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7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fld id="{E5521E86-09D5-4946-96C4-F588BCCA310C}" type="slidenum">
              <a:rPr lang="ru-RU" smtClean="0"/>
              <a:pPr>
                <a:defRPr/>
              </a:pPr>
              <a:t>10</a:t>
            </a:fld>
            <a:endParaRPr lang="ru-RU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88BB42C-4E7E-45F1-AB31-00086D65A63E}"/>
              </a:ext>
            </a:extLst>
          </p:cNvPr>
          <p:cNvSpPr txBox="1"/>
          <p:nvPr/>
        </p:nvSpPr>
        <p:spPr>
          <a:xfrm>
            <a:off x="749369" y="443928"/>
            <a:ext cx="3957385" cy="391042"/>
          </a:xfrm>
          <a:prstGeom prst="rect">
            <a:avLst/>
          </a:prstGeom>
          <a:solidFill>
            <a:srgbClr val="FFEB00"/>
          </a:solidFill>
        </p:spPr>
        <p:txBody>
          <a:bodyPr wrap="square" rtlCol="0">
            <a:spAutoFit/>
          </a:bodyPr>
          <a:lstStyle/>
          <a:p>
            <a:endParaRPr lang="en-US" sz="2600" b="1" dirty="0">
              <a:latin typeface="FuturaDemiC" panose="04000700000000000000" pitchFamily="82" charset="-52"/>
            </a:endParaRPr>
          </a:p>
        </p:txBody>
      </p:sp>
      <p:sp>
        <p:nvSpPr>
          <p:cNvPr id="11" name="Title 4"/>
          <p:cNvSpPr>
            <a:spLocks noGrp="1"/>
          </p:cNvSpPr>
          <p:nvPr>
            <p:ph type="title"/>
          </p:nvPr>
        </p:nvSpPr>
        <p:spPr>
          <a:xfrm>
            <a:off x="749369" y="478121"/>
            <a:ext cx="8386164" cy="762188"/>
          </a:xfrm>
        </p:spPr>
        <p:txBody>
          <a:bodyPr>
            <a:normAutofit/>
          </a:bodyPr>
          <a:lstStyle/>
          <a:p>
            <a:r>
              <a:rPr lang="ru-RU" sz="2400" b="1" dirty="0">
                <a:latin typeface="Century Gothic" panose="020B0502020202020204" pitchFamily="34" charset="0"/>
              </a:rPr>
              <a:t>Виды тестирования</a:t>
            </a:r>
          </a:p>
        </p:txBody>
      </p:sp>
      <p:sp>
        <p:nvSpPr>
          <p:cNvPr id="12" name="Oval 11"/>
          <p:cNvSpPr/>
          <p:nvPr/>
        </p:nvSpPr>
        <p:spPr>
          <a:xfrm>
            <a:off x="6545650" y="3170235"/>
            <a:ext cx="469976" cy="469976"/>
          </a:xfrm>
          <a:prstGeom prst="ellipse">
            <a:avLst/>
          </a:prstGeom>
          <a:solidFill>
            <a:srgbClr val="FAEB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" name="Oval 12"/>
          <p:cNvSpPr/>
          <p:nvPr/>
        </p:nvSpPr>
        <p:spPr>
          <a:xfrm>
            <a:off x="6545650" y="4135693"/>
            <a:ext cx="469976" cy="469976"/>
          </a:xfrm>
          <a:prstGeom prst="ellipse">
            <a:avLst/>
          </a:prstGeom>
          <a:solidFill>
            <a:srgbClr val="FAEB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" name="Oval 13"/>
          <p:cNvSpPr/>
          <p:nvPr/>
        </p:nvSpPr>
        <p:spPr>
          <a:xfrm>
            <a:off x="6545650" y="5092199"/>
            <a:ext cx="469976" cy="469976"/>
          </a:xfrm>
          <a:prstGeom prst="ellipse">
            <a:avLst/>
          </a:prstGeom>
          <a:solidFill>
            <a:srgbClr val="FAEB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" name="Oval 14"/>
          <p:cNvSpPr/>
          <p:nvPr/>
        </p:nvSpPr>
        <p:spPr>
          <a:xfrm>
            <a:off x="6545650" y="2215169"/>
            <a:ext cx="469976" cy="469976"/>
          </a:xfrm>
          <a:prstGeom prst="ellipse">
            <a:avLst/>
          </a:prstGeom>
          <a:solidFill>
            <a:srgbClr val="FAEB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6" name="Oval 15"/>
          <p:cNvSpPr/>
          <p:nvPr/>
        </p:nvSpPr>
        <p:spPr>
          <a:xfrm>
            <a:off x="6545650" y="1254714"/>
            <a:ext cx="469976" cy="469976"/>
          </a:xfrm>
          <a:prstGeom prst="ellipse">
            <a:avLst/>
          </a:prstGeom>
          <a:solidFill>
            <a:srgbClr val="FAEB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" name="Oval 16"/>
          <p:cNvSpPr/>
          <p:nvPr/>
        </p:nvSpPr>
        <p:spPr>
          <a:xfrm>
            <a:off x="802249" y="3170235"/>
            <a:ext cx="469976" cy="469976"/>
          </a:xfrm>
          <a:prstGeom prst="ellipse">
            <a:avLst/>
          </a:prstGeom>
          <a:solidFill>
            <a:srgbClr val="FAEB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8" name="Oval 17"/>
          <p:cNvSpPr/>
          <p:nvPr/>
        </p:nvSpPr>
        <p:spPr>
          <a:xfrm>
            <a:off x="802249" y="4135693"/>
            <a:ext cx="469976" cy="469976"/>
          </a:xfrm>
          <a:prstGeom prst="ellipse">
            <a:avLst/>
          </a:prstGeom>
          <a:solidFill>
            <a:srgbClr val="FAEB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9" name="Oval 18"/>
          <p:cNvSpPr/>
          <p:nvPr/>
        </p:nvSpPr>
        <p:spPr>
          <a:xfrm>
            <a:off x="802249" y="5092199"/>
            <a:ext cx="469976" cy="469976"/>
          </a:xfrm>
          <a:prstGeom prst="ellipse">
            <a:avLst/>
          </a:prstGeom>
          <a:solidFill>
            <a:srgbClr val="FAEB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0" name="Oval 19"/>
          <p:cNvSpPr/>
          <p:nvPr/>
        </p:nvSpPr>
        <p:spPr>
          <a:xfrm>
            <a:off x="802249" y="2215169"/>
            <a:ext cx="469976" cy="469976"/>
          </a:xfrm>
          <a:prstGeom prst="ellipse">
            <a:avLst/>
          </a:prstGeom>
          <a:solidFill>
            <a:srgbClr val="FAEB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1" name="Oval 20"/>
          <p:cNvSpPr/>
          <p:nvPr/>
        </p:nvSpPr>
        <p:spPr>
          <a:xfrm>
            <a:off x="802249" y="1254714"/>
            <a:ext cx="469976" cy="469976"/>
          </a:xfrm>
          <a:prstGeom prst="ellipse">
            <a:avLst/>
          </a:prstGeom>
          <a:solidFill>
            <a:srgbClr val="FAEB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" name="TextBox 21"/>
          <p:cNvSpPr txBox="1"/>
          <p:nvPr/>
        </p:nvSpPr>
        <p:spPr>
          <a:xfrm>
            <a:off x="1003376" y="1289647"/>
            <a:ext cx="448302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dirty="0">
                <a:latin typeface="Century Gothic" panose="020B0502020202020204" pitchFamily="34" charset="0"/>
              </a:rPr>
              <a:t>Функциональное тестирование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1011835" y="2249018"/>
            <a:ext cx="428205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dirty="0">
                <a:latin typeface="Century Gothic" panose="020B0502020202020204" pitchFamily="34" charset="0"/>
              </a:rPr>
              <a:t>Нагрузочное тестирование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1011835" y="3208389"/>
            <a:ext cx="415283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dirty="0">
                <a:latin typeface="Century Gothic" panose="020B0502020202020204" pitchFamily="34" charset="0"/>
              </a:rPr>
              <a:t>Стресс-тестирование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1011835" y="4167760"/>
            <a:ext cx="415283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dirty="0">
                <a:latin typeface="Century Gothic" panose="020B0502020202020204" pitchFamily="34" charset="0"/>
              </a:rPr>
              <a:t>Тестирование стабильности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1003376" y="5127132"/>
            <a:ext cx="476215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dirty="0">
                <a:latin typeface="Century Gothic" panose="020B0502020202020204" pitchFamily="34" charset="0"/>
              </a:rPr>
              <a:t>Конфигурационное тестирование</a:t>
            </a:r>
          </a:p>
        </p:txBody>
      </p:sp>
      <p:sp>
        <p:nvSpPr>
          <p:cNvPr id="32" name="TextBox 31"/>
          <p:cNvSpPr txBox="1"/>
          <p:nvPr/>
        </p:nvSpPr>
        <p:spPr>
          <a:xfrm>
            <a:off x="6752235" y="2249018"/>
            <a:ext cx="4152831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dirty="0">
                <a:latin typeface="Century Gothic" panose="020B0502020202020204" pitchFamily="34" charset="0"/>
              </a:rPr>
              <a:t>Тестирование интерфейса пользователя</a:t>
            </a:r>
          </a:p>
        </p:txBody>
      </p:sp>
      <p:sp>
        <p:nvSpPr>
          <p:cNvPr id="33" name="TextBox 32"/>
          <p:cNvSpPr txBox="1"/>
          <p:nvPr/>
        </p:nvSpPr>
        <p:spPr>
          <a:xfrm>
            <a:off x="6752235" y="3208389"/>
            <a:ext cx="415283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dirty="0">
                <a:latin typeface="Century Gothic" panose="020B0502020202020204" pitchFamily="34" charset="0"/>
              </a:rPr>
              <a:t>Тестирование безопасности</a:t>
            </a:r>
          </a:p>
        </p:txBody>
      </p:sp>
      <p:sp>
        <p:nvSpPr>
          <p:cNvPr id="34" name="TextBox 33"/>
          <p:cNvSpPr txBox="1"/>
          <p:nvPr/>
        </p:nvSpPr>
        <p:spPr>
          <a:xfrm>
            <a:off x="6752235" y="4167760"/>
            <a:ext cx="415283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dirty="0">
                <a:latin typeface="Century Gothic" panose="020B0502020202020204" pitchFamily="34" charset="0"/>
              </a:rPr>
              <a:t>Тестирование локализации</a:t>
            </a:r>
          </a:p>
        </p:txBody>
      </p:sp>
      <p:sp>
        <p:nvSpPr>
          <p:cNvPr id="36" name="TextBox 35"/>
          <p:cNvSpPr txBox="1"/>
          <p:nvPr/>
        </p:nvSpPr>
        <p:spPr>
          <a:xfrm>
            <a:off x="6752235" y="5127132"/>
            <a:ext cx="415283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dirty="0">
                <a:latin typeface="Century Gothic" panose="020B0502020202020204" pitchFamily="34" charset="0"/>
              </a:rPr>
              <a:t>Тестирование совместимости</a:t>
            </a:r>
          </a:p>
        </p:txBody>
      </p:sp>
      <p:sp>
        <p:nvSpPr>
          <p:cNvPr id="37" name="TextBox 36"/>
          <p:cNvSpPr txBox="1"/>
          <p:nvPr/>
        </p:nvSpPr>
        <p:spPr>
          <a:xfrm>
            <a:off x="6752234" y="1289647"/>
            <a:ext cx="415283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dirty="0" err="1">
                <a:latin typeface="Century Gothic" panose="020B0502020202020204" pitchFamily="34" charset="0"/>
              </a:rPr>
              <a:t>Юзабилити</a:t>
            </a:r>
            <a:r>
              <a:rPr lang="ru-RU" sz="2000" dirty="0">
                <a:latin typeface="Century Gothic" panose="020B0502020202020204" pitchFamily="34" charset="0"/>
              </a:rPr>
              <a:t>-тестирование</a:t>
            </a:r>
          </a:p>
        </p:txBody>
      </p:sp>
    </p:spTree>
    <p:extLst>
      <p:ext uri="{BB962C8B-B14F-4D97-AF65-F5344CB8AC3E}">
        <p14:creationId xmlns:p14="http://schemas.microsoft.com/office/powerpoint/2010/main" val="415401094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  <p:bldP spid="13" grpId="0" animBg="1"/>
      <p:bldP spid="14" grpId="0" animBg="1"/>
      <p:bldP spid="15" grpId="0" animBg="1"/>
      <p:bldP spid="16" grpId="0" animBg="1"/>
      <p:bldP spid="17" grpId="0" animBg="1"/>
      <p:bldP spid="18" grpId="0" animBg="1"/>
      <p:bldP spid="19" grpId="0" animBg="1"/>
      <p:bldP spid="20" grpId="0" animBg="1"/>
      <p:bldP spid="21" grpId="0" animBg="1"/>
      <p:bldP spid="22" grpId="0"/>
      <p:bldP spid="23" grpId="0"/>
      <p:bldP spid="24" grpId="0"/>
      <p:bldP spid="26" grpId="0"/>
      <p:bldP spid="28" grpId="0"/>
      <p:bldP spid="32" grpId="0"/>
      <p:bldP spid="33" grpId="0"/>
      <p:bldP spid="34" grpId="0"/>
      <p:bldP spid="36" grpId="0"/>
      <p:bldP spid="37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7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fld id="{E5521E86-09D5-4946-96C4-F588BCCA310C}" type="slidenum">
              <a:rPr lang="ru-RU" smtClean="0"/>
              <a:pPr>
                <a:defRPr/>
              </a:pPr>
              <a:t>11</a:t>
            </a:fld>
            <a:endParaRPr lang="ru-RU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88BB42C-4E7E-45F1-AB31-00086D65A63E}"/>
              </a:ext>
            </a:extLst>
          </p:cNvPr>
          <p:cNvSpPr txBox="1"/>
          <p:nvPr/>
        </p:nvSpPr>
        <p:spPr>
          <a:xfrm>
            <a:off x="749369" y="443928"/>
            <a:ext cx="3957385" cy="391042"/>
          </a:xfrm>
          <a:prstGeom prst="rect">
            <a:avLst/>
          </a:prstGeom>
          <a:solidFill>
            <a:srgbClr val="FFEB00"/>
          </a:solidFill>
        </p:spPr>
        <p:txBody>
          <a:bodyPr wrap="square" rtlCol="0">
            <a:spAutoFit/>
          </a:bodyPr>
          <a:lstStyle/>
          <a:p>
            <a:endParaRPr lang="en-US" sz="2600" b="1" dirty="0">
              <a:latin typeface="FuturaDemiC" panose="04000700000000000000" pitchFamily="82" charset="-52"/>
            </a:endParaRPr>
          </a:p>
        </p:txBody>
      </p:sp>
      <p:sp>
        <p:nvSpPr>
          <p:cNvPr id="11" name="Title 4"/>
          <p:cNvSpPr>
            <a:spLocks noGrp="1"/>
          </p:cNvSpPr>
          <p:nvPr>
            <p:ph type="title"/>
          </p:nvPr>
        </p:nvSpPr>
        <p:spPr>
          <a:xfrm>
            <a:off x="749369" y="478121"/>
            <a:ext cx="8386164" cy="762188"/>
          </a:xfrm>
        </p:spPr>
        <p:txBody>
          <a:bodyPr>
            <a:normAutofit/>
          </a:bodyPr>
          <a:lstStyle/>
          <a:p>
            <a:r>
              <a:rPr lang="ru-RU" sz="2400" b="1" dirty="0">
                <a:latin typeface="Century Gothic" panose="020B0502020202020204" pitchFamily="34" charset="0"/>
              </a:rPr>
              <a:t>Виды тестирования</a:t>
            </a:r>
          </a:p>
        </p:txBody>
      </p:sp>
      <p:sp>
        <p:nvSpPr>
          <p:cNvPr id="21" name="Oval 20"/>
          <p:cNvSpPr/>
          <p:nvPr/>
        </p:nvSpPr>
        <p:spPr>
          <a:xfrm>
            <a:off x="802249" y="1254714"/>
            <a:ext cx="469976" cy="469976"/>
          </a:xfrm>
          <a:prstGeom prst="ellipse">
            <a:avLst/>
          </a:prstGeom>
          <a:solidFill>
            <a:srgbClr val="FAEB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" name="TextBox 21"/>
          <p:cNvSpPr txBox="1"/>
          <p:nvPr/>
        </p:nvSpPr>
        <p:spPr>
          <a:xfrm>
            <a:off x="1003375" y="1289647"/>
            <a:ext cx="596531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dirty="0">
                <a:latin typeface="Century Gothic" panose="020B0502020202020204" pitchFamily="34" charset="0"/>
              </a:rPr>
              <a:t>По знанию внутреннего строения системы</a:t>
            </a:r>
          </a:p>
          <a:p>
            <a:endParaRPr lang="ru-RU" sz="2000" dirty="0">
              <a:latin typeface="Century Gothic" panose="020B0502020202020204" pitchFamily="34" charset="0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1282768" y="1755829"/>
            <a:ext cx="6845231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Tx/>
              <a:buChar char="-"/>
            </a:pPr>
            <a:r>
              <a:rPr lang="ru-RU" sz="1600" dirty="0">
                <a:latin typeface="Century Gothic" panose="020B0502020202020204" pitchFamily="34" charset="0"/>
              </a:rPr>
              <a:t>Тестирование черного ящика</a:t>
            </a:r>
          </a:p>
          <a:p>
            <a:pPr marL="285750" indent="-285750">
              <a:buFontTx/>
              <a:buChar char="-"/>
            </a:pPr>
            <a:r>
              <a:rPr lang="ru-RU" sz="1600" dirty="0">
                <a:latin typeface="Century Gothic" panose="020B0502020202020204" pitchFamily="34" charset="0"/>
              </a:rPr>
              <a:t>Тестирование белого ящика</a:t>
            </a:r>
          </a:p>
          <a:p>
            <a:pPr marL="285750" indent="-285750">
              <a:buFontTx/>
              <a:buChar char="-"/>
            </a:pPr>
            <a:r>
              <a:rPr lang="ru-RU" sz="1600" dirty="0">
                <a:latin typeface="Century Gothic" panose="020B0502020202020204" pitchFamily="34" charset="0"/>
              </a:rPr>
              <a:t>Тестирование серого ящика</a:t>
            </a:r>
          </a:p>
          <a:p>
            <a:pPr marL="285750" indent="-285750">
              <a:buFontTx/>
              <a:buChar char="-"/>
            </a:pPr>
            <a:endParaRPr lang="ru-RU" sz="1600" dirty="0">
              <a:latin typeface="Century Gothic" panose="020B0502020202020204" pitchFamily="34" charset="0"/>
            </a:endParaRPr>
          </a:p>
        </p:txBody>
      </p:sp>
      <p:sp>
        <p:nvSpPr>
          <p:cNvPr id="27" name="Oval 26"/>
          <p:cNvSpPr/>
          <p:nvPr/>
        </p:nvSpPr>
        <p:spPr>
          <a:xfrm>
            <a:off x="802249" y="2798114"/>
            <a:ext cx="469976" cy="469976"/>
          </a:xfrm>
          <a:prstGeom prst="ellipse">
            <a:avLst/>
          </a:prstGeom>
          <a:solidFill>
            <a:srgbClr val="FAEB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9" name="TextBox 28"/>
          <p:cNvSpPr txBox="1"/>
          <p:nvPr/>
        </p:nvSpPr>
        <p:spPr>
          <a:xfrm>
            <a:off x="1003375" y="2833047"/>
            <a:ext cx="596531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dirty="0">
                <a:latin typeface="Century Gothic" panose="020B0502020202020204" pitchFamily="34" charset="0"/>
              </a:rPr>
              <a:t>По степени автоматизации</a:t>
            </a:r>
          </a:p>
          <a:p>
            <a:endParaRPr lang="ru-RU" sz="2000" dirty="0">
              <a:latin typeface="Century Gothic" panose="020B0502020202020204" pitchFamily="34" charset="0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1282768" y="3299229"/>
            <a:ext cx="6845231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Tx/>
              <a:buChar char="-"/>
            </a:pPr>
            <a:r>
              <a:rPr lang="ru-RU" sz="1600" dirty="0">
                <a:latin typeface="Century Gothic" panose="020B0502020202020204" pitchFamily="34" charset="0"/>
              </a:rPr>
              <a:t>Ручное тестирование</a:t>
            </a:r>
          </a:p>
          <a:p>
            <a:pPr marL="285750" indent="-285750">
              <a:buFontTx/>
              <a:buChar char="-"/>
            </a:pPr>
            <a:r>
              <a:rPr lang="ru-RU" sz="1600" dirty="0">
                <a:latin typeface="Century Gothic" panose="020B0502020202020204" pitchFamily="34" charset="0"/>
              </a:rPr>
              <a:t>Автоматизированное тестирование</a:t>
            </a:r>
          </a:p>
          <a:p>
            <a:pPr marL="285750" indent="-285750">
              <a:buFontTx/>
              <a:buChar char="-"/>
            </a:pPr>
            <a:r>
              <a:rPr lang="ru-RU" sz="1600" dirty="0" err="1">
                <a:latin typeface="Century Gothic" panose="020B0502020202020204" pitchFamily="34" charset="0"/>
              </a:rPr>
              <a:t>Полуавтоматизированное</a:t>
            </a:r>
            <a:r>
              <a:rPr lang="ru-RU" sz="1600" dirty="0">
                <a:latin typeface="Century Gothic" panose="020B0502020202020204" pitchFamily="34" charset="0"/>
              </a:rPr>
              <a:t> тестирование</a:t>
            </a:r>
          </a:p>
          <a:p>
            <a:pPr marL="285750" indent="-285750">
              <a:buFontTx/>
              <a:buChar char="-"/>
            </a:pPr>
            <a:endParaRPr lang="ru-RU" sz="1600" dirty="0">
              <a:latin typeface="Century Gothic" panose="020B0502020202020204" pitchFamily="34" charset="0"/>
            </a:endParaRPr>
          </a:p>
        </p:txBody>
      </p:sp>
      <p:sp>
        <p:nvSpPr>
          <p:cNvPr id="31" name="Oval 30"/>
          <p:cNvSpPr/>
          <p:nvPr/>
        </p:nvSpPr>
        <p:spPr>
          <a:xfrm>
            <a:off x="802249" y="4373399"/>
            <a:ext cx="469976" cy="469976"/>
          </a:xfrm>
          <a:prstGeom prst="ellipse">
            <a:avLst/>
          </a:prstGeom>
          <a:solidFill>
            <a:srgbClr val="FAEB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5" name="TextBox 34"/>
          <p:cNvSpPr txBox="1"/>
          <p:nvPr/>
        </p:nvSpPr>
        <p:spPr>
          <a:xfrm>
            <a:off x="1003375" y="4408332"/>
            <a:ext cx="596531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dirty="0">
                <a:latin typeface="Century Gothic" panose="020B0502020202020204" pitchFamily="34" charset="0"/>
              </a:rPr>
              <a:t>По степени изолированности</a:t>
            </a:r>
          </a:p>
          <a:p>
            <a:endParaRPr lang="ru-RU" sz="2000" dirty="0">
              <a:latin typeface="Century Gothic" panose="020B0502020202020204" pitchFamily="34" charset="0"/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1282768" y="4874514"/>
            <a:ext cx="6845231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Tx/>
              <a:buChar char="-"/>
            </a:pPr>
            <a:r>
              <a:rPr lang="ru-RU" sz="1600" dirty="0">
                <a:latin typeface="Century Gothic" panose="020B0502020202020204" pitchFamily="34" charset="0"/>
              </a:rPr>
              <a:t>Тестирование компонентов</a:t>
            </a:r>
          </a:p>
          <a:p>
            <a:pPr marL="285750" indent="-285750">
              <a:buFontTx/>
              <a:buChar char="-"/>
            </a:pPr>
            <a:r>
              <a:rPr lang="ru-RU" sz="1600" dirty="0">
                <a:latin typeface="Century Gothic" panose="020B0502020202020204" pitchFamily="34" charset="0"/>
              </a:rPr>
              <a:t>Интеграционное тестирование</a:t>
            </a:r>
          </a:p>
          <a:p>
            <a:pPr marL="285750" indent="-285750">
              <a:buFontTx/>
              <a:buChar char="-"/>
            </a:pPr>
            <a:r>
              <a:rPr lang="ru-RU" sz="1600" dirty="0">
                <a:latin typeface="Century Gothic" panose="020B0502020202020204" pitchFamily="34" charset="0"/>
              </a:rPr>
              <a:t>Системное тестирование</a:t>
            </a:r>
          </a:p>
          <a:p>
            <a:pPr marL="285750" indent="-285750">
              <a:buFontTx/>
              <a:buChar char="-"/>
            </a:pPr>
            <a:endParaRPr lang="ru-RU" sz="1600" dirty="0"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7081262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" grpId="0" animBg="1"/>
      <p:bldP spid="22" grpId="0"/>
      <p:bldP spid="25" grpId="0"/>
      <p:bldP spid="27" grpId="0" animBg="1"/>
      <p:bldP spid="29" grpId="0"/>
      <p:bldP spid="30" grpId="0"/>
      <p:bldP spid="31" grpId="0" animBg="1"/>
      <p:bldP spid="35" grpId="0"/>
      <p:bldP spid="38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Slide Number Placeholder 7"/>
          <p:cNvSpPr>
            <a:spLocks noGrp="1"/>
          </p:cNvSpPr>
          <p:nvPr>
            <p:ph type="sldNum" sz="quarter" idx="17"/>
          </p:nvPr>
        </p:nvSpPr>
        <p:spPr>
          <a:xfrm>
            <a:off x="11044238" y="6573838"/>
            <a:ext cx="765175" cy="153987"/>
          </a:xfrm>
        </p:spPr>
        <p:txBody>
          <a:bodyPr/>
          <a:lstStyle/>
          <a:p>
            <a:pPr>
              <a:defRPr/>
            </a:pPr>
            <a:fld id="{E5521E86-09D5-4946-96C4-F588BCCA310C}" type="slidenum">
              <a:rPr lang="ru-RU" smtClean="0"/>
              <a:pPr>
                <a:defRPr/>
              </a:pPr>
              <a:t>12</a:t>
            </a:fld>
            <a:endParaRPr lang="ru-RU" dirty="0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088BB42C-4E7E-45F1-AB31-00086D65A63E}"/>
              </a:ext>
            </a:extLst>
          </p:cNvPr>
          <p:cNvSpPr txBox="1"/>
          <p:nvPr/>
        </p:nvSpPr>
        <p:spPr>
          <a:xfrm>
            <a:off x="749369" y="443928"/>
            <a:ext cx="3957385" cy="391042"/>
          </a:xfrm>
          <a:prstGeom prst="rect">
            <a:avLst/>
          </a:prstGeom>
          <a:solidFill>
            <a:srgbClr val="FFEB00"/>
          </a:solidFill>
        </p:spPr>
        <p:txBody>
          <a:bodyPr wrap="square" rtlCol="0">
            <a:spAutoFit/>
          </a:bodyPr>
          <a:lstStyle/>
          <a:p>
            <a:endParaRPr lang="en-US" sz="2600" b="1" dirty="0">
              <a:latin typeface="FuturaDemiC" panose="04000700000000000000" pitchFamily="82" charset="-52"/>
            </a:endParaRPr>
          </a:p>
        </p:txBody>
      </p:sp>
      <p:sp>
        <p:nvSpPr>
          <p:cNvPr id="23" name="Title 4"/>
          <p:cNvSpPr>
            <a:spLocks noGrp="1"/>
          </p:cNvSpPr>
          <p:nvPr>
            <p:ph type="title"/>
          </p:nvPr>
        </p:nvSpPr>
        <p:spPr>
          <a:xfrm>
            <a:off x="749369" y="478121"/>
            <a:ext cx="8386164" cy="762188"/>
          </a:xfrm>
        </p:spPr>
        <p:txBody>
          <a:bodyPr>
            <a:normAutofit/>
          </a:bodyPr>
          <a:lstStyle/>
          <a:p>
            <a:r>
              <a:rPr lang="ru-RU" sz="2400" b="1" dirty="0">
                <a:latin typeface="Century Gothic" panose="020B0502020202020204" pitchFamily="34" charset="0"/>
              </a:rPr>
              <a:t>Виды тестирования</a:t>
            </a:r>
          </a:p>
        </p:txBody>
      </p:sp>
      <p:sp>
        <p:nvSpPr>
          <p:cNvPr id="24" name="Oval 23"/>
          <p:cNvSpPr/>
          <p:nvPr/>
        </p:nvSpPr>
        <p:spPr>
          <a:xfrm>
            <a:off x="802249" y="1254714"/>
            <a:ext cx="469976" cy="469976"/>
          </a:xfrm>
          <a:prstGeom prst="ellipse">
            <a:avLst/>
          </a:prstGeom>
          <a:solidFill>
            <a:srgbClr val="FAEB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5" name="TextBox 24"/>
          <p:cNvSpPr txBox="1"/>
          <p:nvPr/>
        </p:nvSpPr>
        <p:spPr>
          <a:xfrm>
            <a:off x="1003375" y="1289647"/>
            <a:ext cx="596531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dirty="0">
                <a:latin typeface="Century Gothic" panose="020B0502020202020204" pitchFamily="34" charset="0"/>
              </a:rPr>
              <a:t>По </a:t>
            </a:r>
            <a:r>
              <a:rPr lang="ru-RU" sz="2000" dirty="0" smtClean="0">
                <a:latin typeface="Century Gothic" panose="020B0502020202020204" pitchFamily="34" charset="0"/>
              </a:rPr>
              <a:t>времени проведения тестирования</a:t>
            </a:r>
            <a:endParaRPr lang="ru-RU" sz="2000" dirty="0">
              <a:latin typeface="Century Gothic" panose="020B0502020202020204" pitchFamily="34" charset="0"/>
            </a:endParaRPr>
          </a:p>
          <a:p>
            <a:endParaRPr lang="ru-RU" sz="2000" dirty="0">
              <a:latin typeface="Century Gothic" panose="020B0502020202020204" pitchFamily="34" charset="0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1282768" y="1755829"/>
            <a:ext cx="6845231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Tx/>
              <a:buChar char="-"/>
            </a:pPr>
            <a:r>
              <a:rPr lang="en-US" sz="1600" dirty="0" smtClean="0">
                <a:latin typeface="Century Gothic" panose="020B0502020202020204" pitchFamily="34" charset="0"/>
              </a:rPr>
              <a:t>Smoke </a:t>
            </a:r>
            <a:r>
              <a:rPr lang="ru-RU" sz="1600" dirty="0" smtClean="0">
                <a:latin typeface="Century Gothic" panose="020B0502020202020204" pitchFamily="34" charset="0"/>
              </a:rPr>
              <a:t>тестирование</a:t>
            </a:r>
            <a:endParaRPr lang="ru-RU" sz="1600" dirty="0">
              <a:latin typeface="Century Gothic" panose="020B0502020202020204" pitchFamily="34" charset="0"/>
            </a:endParaRPr>
          </a:p>
          <a:p>
            <a:pPr marL="285750" indent="-285750">
              <a:buFontTx/>
              <a:buChar char="-"/>
            </a:pPr>
            <a:r>
              <a:rPr lang="ru-RU" sz="1600" dirty="0">
                <a:latin typeface="Century Gothic" panose="020B0502020202020204" pitchFamily="34" charset="0"/>
              </a:rPr>
              <a:t>Тестирование </a:t>
            </a:r>
            <a:r>
              <a:rPr lang="ru-RU" sz="1600" dirty="0" smtClean="0">
                <a:latin typeface="Century Gothic" panose="020B0502020202020204" pitchFamily="34" charset="0"/>
              </a:rPr>
              <a:t>новой функции</a:t>
            </a:r>
            <a:endParaRPr lang="ru-RU" sz="1600" dirty="0">
              <a:latin typeface="Century Gothic" panose="020B0502020202020204" pitchFamily="34" charset="0"/>
            </a:endParaRPr>
          </a:p>
          <a:p>
            <a:pPr marL="285750" indent="-285750">
              <a:buFontTx/>
              <a:buChar char="-"/>
            </a:pPr>
            <a:r>
              <a:rPr lang="ru-RU" sz="1600" dirty="0" smtClean="0">
                <a:latin typeface="Century Gothic" panose="020B0502020202020204" pitchFamily="34" charset="0"/>
              </a:rPr>
              <a:t>Подтверждающее тестирование</a:t>
            </a:r>
          </a:p>
          <a:p>
            <a:pPr marL="285750" indent="-285750">
              <a:buFontTx/>
              <a:buChar char="-"/>
            </a:pPr>
            <a:r>
              <a:rPr lang="ru-RU" sz="1600" dirty="0" smtClean="0">
                <a:latin typeface="Century Gothic" panose="020B0502020202020204" pitchFamily="34" charset="0"/>
              </a:rPr>
              <a:t>Регрессионное тестирование</a:t>
            </a:r>
          </a:p>
          <a:p>
            <a:pPr marL="285750" indent="-285750">
              <a:buFontTx/>
              <a:buChar char="-"/>
            </a:pPr>
            <a:r>
              <a:rPr lang="ru-RU" sz="1600" dirty="0" smtClean="0">
                <a:latin typeface="Century Gothic" panose="020B0502020202020204" pitchFamily="34" charset="0"/>
              </a:rPr>
              <a:t>Приемочное </a:t>
            </a:r>
            <a:r>
              <a:rPr lang="ru-RU" sz="1600" dirty="0" err="1" smtClean="0">
                <a:latin typeface="Century Gothic" panose="020B0502020202020204" pitchFamily="34" charset="0"/>
              </a:rPr>
              <a:t>тестрование</a:t>
            </a:r>
            <a:endParaRPr lang="ru-RU" sz="1600" dirty="0">
              <a:latin typeface="Century Gothic" panose="020B0502020202020204" pitchFamily="34" charset="0"/>
            </a:endParaRPr>
          </a:p>
          <a:p>
            <a:pPr marL="285750" indent="-285750">
              <a:buFontTx/>
              <a:buChar char="-"/>
            </a:pPr>
            <a:endParaRPr lang="ru-RU" sz="1600" dirty="0">
              <a:latin typeface="Century Gothic" panose="020B0502020202020204" pitchFamily="34" charset="0"/>
            </a:endParaRPr>
          </a:p>
        </p:txBody>
      </p:sp>
      <p:sp>
        <p:nvSpPr>
          <p:cNvPr id="27" name="Oval 26"/>
          <p:cNvSpPr/>
          <p:nvPr/>
        </p:nvSpPr>
        <p:spPr>
          <a:xfrm>
            <a:off x="812792" y="3146004"/>
            <a:ext cx="469976" cy="469976"/>
          </a:xfrm>
          <a:prstGeom prst="ellipse">
            <a:avLst/>
          </a:prstGeom>
          <a:solidFill>
            <a:srgbClr val="FAEB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8" name="TextBox 27"/>
          <p:cNvSpPr txBox="1"/>
          <p:nvPr/>
        </p:nvSpPr>
        <p:spPr>
          <a:xfrm>
            <a:off x="1047780" y="3146004"/>
            <a:ext cx="596531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dirty="0">
                <a:latin typeface="Century Gothic" panose="020B0502020202020204" pitchFamily="34" charset="0"/>
              </a:rPr>
              <a:t>По </a:t>
            </a:r>
            <a:r>
              <a:rPr lang="ru-RU" sz="2000" dirty="0" smtClean="0">
                <a:latin typeface="Century Gothic" panose="020B0502020202020204" pitchFamily="34" charset="0"/>
              </a:rPr>
              <a:t>признаку позитивности сценариев</a:t>
            </a:r>
            <a:endParaRPr lang="ru-RU" sz="2000" dirty="0">
              <a:latin typeface="Century Gothic" panose="020B0502020202020204" pitchFamily="34" charset="0"/>
            </a:endParaRPr>
          </a:p>
          <a:p>
            <a:endParaRPr lang="ru-RU" sz="2000" dirty="0">
              <a:latin typeface="Century Gothic" panose="020B0502020202020204" pitchFamily="34" charset="0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1284138" y="3612186"/>
            <a:ext cx="684523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Tx/>
              <a:buChar char="-"/>
            </a:pPr>
            <a:r>
              <a:rPr lang="ru-RU" sz="1600" dirty="0" smtClean="0">
                <a:latin typeface="Century Gothic" panose="020B0502020202020204" pitchFamily="34" charset="0"/>
              </a:rPr>
              <a:t>Позитивное </a:t>
            </a:r>
            <a:r>
              <a:rPr lang="ru-RU" sz="1600" dirty="0">
                <a:latin typeface="Century Gothic" panose="020B0502020202020204" pitchFamily="34" charset="0"/>
              </a:rPr>
              <a:t>тестирование</a:t>
            </a:r>
          </a:p>
          <a:p>
            <a:pPr marL="285750" indent="-285750">
              <a:buFontTx/>
              <a:buChar char="-"/>
            </a:pPr>
            <a:r>
              <a:rPr lang="ru-RU" sz="1600" dirty="0" smtClean="0">
                <a:latin typeface="Century Gothic" panose="020B0502020202020204" pitchFamily="34" charset="0"/>
              </a:rPr>
              <a:t>Негативное тестирование</a:t>
            </a:r>
            <a:endParaRPr lang="ru-RU" sz="1600" dirty="0"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6413116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4" grpId="0" animBg="1"/>
      <p:bldP spid="25" grpId="0"/>
      <p:bldP spid="26" grpId="0"/>
      <p:bldP spid="27" grpId="0" animBg="1"/>
      <p:bldP spid="28" grpId="0"/>
      <p:bldP spid="29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7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fld id="{E5521E86-09D5-4946-96C4-F588BCCA310C}" type="slidenum">
              <a:rPr lang="ru-RU" smtClean="0"/>
              <a:pPr>
                <a:defRPr/>
              </a:pPr>
              <a:t>13</a:t>
            </a:fld>
            <a:endParaRPr lang="ru-RU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88BB42C-4E7E-45F1-AB31-00086D65A63E}"/>
              </a:ext>
            </a:extLst>
          </p:cNvPr>
          <p:cNvSpPr txBox="1"/>
          <p:nvPr/>
        </p:nvSpPr>
        <p:spPr>
          <a:xfrm>
            <a:off x="749369" y="443928"/>
            <a:ext cx="5295296" cy="391042"/>
          </a:xfrm>
          <a:prstGeom prst="rect">
            <a:avLst/>
          </a:prstGeom>
          <a:solidFill>
            <a:srgbClr val="FFEB00"/>
          </a:solidFill>
        </p:spPr>
        <p:txBody>
          <a:bodyPr wrap="square" rtlCol="0">
            <a:spAutoFit/>
          </a:bodyPr>
          <a:lstStyle/>
          <a:p>
            <a:endParaRPr lang="en-US" sz="2600" b="1" dirty="0">
              <a:latin typeface="FuturaDemiC" panose="04000700000000000000" pitchFamily="82" charset="-52"/>
            </a:endParaRPr>
          </a:p>
        </p:txBody>
      </p:sp>
      <p:sp>
        <p:nvSpPr>
          <p:cNvPr id="11" name="Title 4"/>
          <p:cNvSpPr>
            <a:spLocks noGrp="1"/>
          </p:cNvSpPr>
          <p:nvPr>
            <p:ph type="title"/>
          </p:nvPr>
        </p:nvSpPr>
        <p:spPr>
          <a:xfrm>
            <a:off x="749369" y="478121"/>
            <a:ext cx="8386164" cy="762188"/>
          </a:xfrm>
        </p:spPr>
        <p:txBody>
          <a:bodyPr>
            <a:normAutofit/>
          </a:bodyPr>
          <a:lstStyle/>
          <a:p>
            <a:r>
              <a:rPr lang="ru-RU" sz="2400" b="1" dirty="0">
                <a:latin typeface="Century Gothic" panose="020B0502020202020204" pitchFamily="34" charset="0"/>
              </a:rPr>
              <a:t>Инструменты тестирования</a:t>
            </a:r>
          </a:p>
        </p:txBody>
      </p:sp>
      <p:sp>
        <p:nvSpPr>
          <p:cNvPr id="14" name="Oval 13"/>
          <p:cNvSpPr/>
          <p:nvPr/>
        </p:nvSpPr>
        <p:spPr>
          <a:xfrm>
            <a:off x="802249" y="3574498"/>
            <a:ext cx="469976" cy="469976"/>
          </a:xfrm>
          <a:prstGeom prst="ellipse">
            <a:avLst/>
          </a:prstGeom>
          <a:solidFill>
            <a:srgbClr val="FAEB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" name="Oval 14"/>
          <p:cNvSpPr/>
          <p:nvPr/>
        </p:nvSpPr>
        <p:spPr>
          <a:xfrm>
            <a:off x="802249" y="4539956"/>
            <a:ext cx="469976" cy="469976"/>
          </a:xfrm>
          <a:prstGeom prst="ellipse">
            <a:avLst/>
          </a:prstGeom>
          <a:solidFill>
            <a:srgbClr val="FAEB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6" name="Oval 15"/>
          <p:cNvSpPr/>
          <p:nvPr/>
        </p:nvSpPr>
        <p:spPr>
          <a:xfrm>
            <a:off x="802249" y="2619432"/>
            <a:ext cx="469976" cy="469976"/>
          </a:xfrm>
          <a:prstGeom prst="ellipse">
            <a:avLst/>
          </a:prstGeom>
          <a:solidFill>
            <a:srgbClr val="FAEB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" name="Oval 16"/>
          <p:cNvSpPr/>
          <p:nvPr/>
        </p:nvSpPr>
        <p:spPr>
          <a:xfrm>
            <a:off x="802249" y="1658977"/>
            <a:ext cx="469976" cy="469976"/>
          </a:xfrm>
          <a:prstGeom prst="ellipse">
            <a:avLst/>
          </a:prstGeom>
          <a:solidFill>
            <a:srgbClr val="FAEB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8" name="TextBox 17"/>
          <p:cNvSpPr txBox="1"/>
          <p:nvPr/>
        </p:nvSpPr>
        <p:spPr>
          <a:xfrm>
            <a:off x="1003376" y="1693910"/>
            <a:ext cx="448302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latin typeface="Century Gothic" panose="020B0502020202020204" pitchFamily="34" charset="0"/>
              </a:rPr>
              <a:t>Jira</a:t>
            </a:r>
            <a:endParaRPr lang="ru-RU" sz="2000" dirty="0">
              <a:latin typeface="Century Gothic" panose="020B0502020202020204" pitchFamily="34" charset="0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1011835" y="2653281"/>
            <a:ext cx="593760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dirty="0">
                <a:latin typeface="Century Gothic" panose="020B0502020202020204" pitchFamily="34" charset="0"/>
              </a:rPr>
              <a:t>Система управления базами данных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1011835" y="3612652"/>
            <a:ext cx="415283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latin typeface="Century Gothic" panose="020B0502020202020204" pitchFamily="34" charset="0"/>
              </a:rPr>
              <a:t>Notepad</a:t>
            </a:r>
            <a:endParaRPr lang="ru-RU" sz="2000" dirty="0">
              <a:latin typeface="Century Gothic" panose="020B0502020202020204" pitchFamily="34" charset="0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1011835" y="4572023"/>
            <a:ext cx="415283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latin typeface="Century Gothic" panose="020B0502020202020204" pitchFamily="34" charset="0"/>
              </a:rPr>
              <a:t>XML, SQL formatter</a:t>
            </a:r>
            <a:endParaRPr lang="ru-RU" sz="2000" dirty="0"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5429551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  <p:bldP spid="15" grpId="0" animBg="1"/>
      <p:bldP spid="16" grpId="0" animBg="1"/>
      <p:bldP spid="17" grpId="0" animBg="1"/>
      <p:bldP spid="18" grpId="0"/>
      <p:bldP spid="19" grpId="0"/>
      <p:bldP spid="20" grpId="0"/>
      <p:bldP spid="23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7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fld id="{E5521E86-09D5-4946-96C4-F588BCCA310C}" type="slidenum">
              <a:rPr lang="ru-RU" smtClean="0"/>
              <a:pPr>
                <a:defRPr/>
              </a:pPr>
              <a:t>14</a:t>
            </a:fld>
            <a:endParaRPr lang="ru-RU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88BB42C-4E7E-45F1-AB31-00086D65A63E}"/>
              </a:ext>
            </a:extLst>
          </p:cNvPr>
          <p:cNvSpPr txBox="1"/>
          <p:nvPr/>
        </p:nvSpPr>
        <p:spPr>
          <a:xfrm>
            <a:off x="749368" y="443928"/>
            <a:ext cx="6074943" cy="391042"/>
          </a:xfrm>
          <a:prstGeom prst="rect">
            <a:avLst/>
          </a:prstGeom>
          <a:solidFill>
            <a:srgbClr val="FFEB00"/>
          </a:solidFill>
        </p:spPr>
        <p:txBody>
          <a:bodyPr wrap="square" rtlCol="0">
            <a:spAutoFit/>
          </a:bodyPr>
          <a:lstStyle/>
          <a:p>
            <a:endParaRPr lang="en-US" sz="2600" b="1" dirty="0">
              <a:latin typeface="FuturaDemiC" panose="04000700000000000000" pitchFamily="82" charset="-52"/>
            </a:endParaRPr>
          </a:p>
        </p:txBody>
      </p:sp>
      <p:sp>
        <p:nvSpPr>
          <p:cNvPr id="11" name="Title 4"/>
          <p:cNvSpPr>
            <a:spLocks noGrp="1"/>
          </p:cNvSpPr>
          <p:nvPr>
            <p:ph type="title"/>
          </p:nvPr>
        </p:nvSpPr>
        <p:spPr>
          <a:xfrm>
            <a:off x="749369" y="478121"/>
            <a:ext cx="8386164" cy="762188"/>
          </a:xfrm>
        </p:spPr>
        <p:txBody>
          <a:bodyPr>
            <a:normAutofit/>
          </a:bodyPr>
          <a:lstStyle/>
          <a:p>
            <a:r>
              <a:rPr lang="ru-RU" sz="2400" b="1" dirty="0">
                <a:latin typeface="Century Gothic" panose="020B0502020202020204" pitchFamily="34" charset="0"/>
              </a:rPr>
              <a:t>Виды активностей </a:t>
            </a:r>
            <a:r>
              <a:rPr lang="ru-RU" sz="2400" b="1" dirty="0" err="1">
                <a:latin typeface="Century Gothic" panose="020B0502020202020204" pitchFamily="34" charset="0"/>
              </a:rPr>
              <a:t>тестировщика</a:t>
            </a:r>
            <a:endParaRPr lang="ru-RU" sz="2400" b="1" dirty="0">
              <a:latin typeface="Century Gothic" panose="020B0502020202020204" pitchFamily="34" charset="0"/>
            </a:endParaRPr>
          </a:p>
        </p:txBody>
      </p:sp>
      <p:sp>
        <p:nvSpPr>
          <p:cNvPr id="13" name="Oval 12"/>
          <p:cNvSpPr/>
          <p:nvPr/>
        </p:nvSpPr>
        <p:spPr>
          <a:xfrm>
            <a:off x="802249" y="2987354"/>
            <a:ext cx="469976" cy="469976"/>
          </a:xfrm>
          <a:prstGeom prst="ellipse">
            <a:avLst/>
          </a:prstGeom>
          <a:solidFill>
            <a:srgbClr val="FAEB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1" name="Oval 20"/>
          <p:cNvSpPr/>
          <p:nvPr/>
        </p:nvSpPr>
        <p:spPr>
          <a:xfrm>
            <a:off x="802249" y="3952812"/>
            <a:ext cx="469976" cy="469976"/>
          </a:xfrm>
          <a:prstGeom prst="ellipse">
            <a:avLst/>
          </a:prstGeom>
          <a:solidFill>
            <a:srgbClr val="FAEB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" name="Oval 21"/>
          <p:cNvSpPr/>
          <p:nvPr/>
        </p:nvSpPr>
        <p:spPr>
          <a:xfrm>
            <a:off x="802249" y="4909318"/>
            <a:ext cx="469976" cy="469976"/>
          </a:xfrm>
          <a:prstGeom prst="ellipse">
            <a:avLst/>
          </a:prstGeom>
          <a:solidFill>
            <a:srgbClr val="FAEB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4" name="Oval 23"/>
          <p:cNvSpPr/>
          <p:nvPr/>
        </p:nvSpPr>
        <p:spPr>
          <a:xfrm>
            <a:off x="802249" y="2032288"/>
            <a:ext cx="469976" cy="469976"/>
          </a:xfrm>
          <a:prstGeom prst="ellipse">
            <a:avLst/>
          </a:prstGeom>
          <a:solidFill>
            <a:srgbClr val="FAEB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5" name="Oval 24"/>
          <p:cNvSpPr/>
          <p:nvPr/>
        </p:nvSpPr>
        <p:spPr>
          <a:xfrm>
            <a:off x="802249" y="1071833"/>
            <a:ext cx="469976" cy="469976"/>
          </a:xfrm>
          <a:prstGeom prst="ellipse">
            <a:avLst/>
          </a:prstGeom>
          <a:solidFill>
            <a:srgbClr val="FAEB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6" name="TextBox 25"/>
          <p:cNvSpPr txBox="1"/>
          <p:nvPr/>
        </p:nvSpPr>
        <p:spPr>
          <a:xfrm>
            <a:off x="1003376" y="1106766"/>
            <a:ext cx="610006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dirty="0">
                <a:latin typeface="Century Gothic" panose="020B0502020202020204" pitchFamily="34" charset="0"/>
              </a:rPr>
              <a:t>Общение с командой и пользователями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1011835" y="3025508"/>
            <a:ext cx="415283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dirty="0" err="1">
                <a:latin typeface="Century Gothic" panose="020B0502020202020204" pitchFamily="34" charset="0"/>
              </a:rPr>
              <a:t>Приоритезация</a:t>
            </a:r>
            <a:r>
              <a:rPr lang="ru-RU" sz="2000" dirty="0">
                <a:latin typeface="Century Gothic" panose="020B0502020202020204" pitchFamily="34" charset="0"/>
              </a:rPr>
              <a:t> текущих задач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1011835" y="3984879"/>
            <a:ext cx="415283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dirty="0">
                <a:latin typeface="Century Gothic" panose="020B0502020202020204" pitchFamily="34" charset="0"/>
              </a:rPr>
              <a:t>Тест дизайн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1003376" y="4944251"/>
            <a:ext cx="476215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dirty="0">
                <a:latin typeface="Century Gothic" panose="020B0502020202020204" pitchFamily="34" charset="0"/>
              </a:rPr>
              <a:t>Исправление после </a:t>
            </a:r>
            <a:r>
              <a:rPr lang="ru-RU" sz="2000" dirty="0" err="1">
                <a:latin typeface="Century Gothic" panose="020B0502020202020204" pitchFamily="34" charset="0"/>
              </a:rPr>
              <a:t>ревью</a:t>
            </a:r>
            <a:endParaRPr lang="ru-RU" sz="2000" dirty="0">
              <a:latin typeface="Century Gothic" panose="020B0502020202020204" pitchFamily="34" charset="0"/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1011835" y="2074373"/>
            <a:ext cx="415283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dirty="0" err="1">
                <a:latin typeface="Century Gothic" panose="020B0502020202020204" pitchFamily="34" charset="0"/>
              </a:rPr>
              <a:t>Ревью</a:t>
            </a:r>
            <a:r>
              <a:rPr lang="ru-RU" sz="2000" dirty="0">
                <a:latin typeface="Century Gothic" panose="020B0502020202020204" pitchFamily="34" charset="0"/>
              </a:rPr>
              <a:t> требований</a:t>
            </a:r>
          </a:p>
        </p:txBody>
      </p:sp>
      <p:sp>
        <p:nvSpPr>
          <p:cNvPr id="32" name="Oval 31"/>
          <p:cNvSpPr/>
          <p:nvPr/>
        </p:nvSpPr>
        <p:spPr>
          <a:xfrm>
            <a:off x="6545650" y="2027982"/>
            <a:ext cx="469976" cy="469976"/>
          </a:xfrm>
          <a:prstGeom prst="ellipse">
            <a:avLst/>
          </a:prstGeom>
          <a:solidFill>
            <a:srgbClr val="FAEB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3" name="Oval 32"/>
          <p:cNvSpPr/>
          <p:nvPr/>
        </p:nvSpPr>
        <p:spPr>
          <a:xfrm>
            <a:off x="6545650" y="2993440"/>
            <a:ext cx="469976" cy="469976"/>
          </a:xfrm>
          <a:prstGeom prst="ellipse">
            <a:avLst/>
          </a:prstGeom>
          <a:solidFill>
            <a:srgbClr val="FAEB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4" name="Oval 33"/>
          <p:cNvSpPr/>
          <p:nvPr/>
        </p:nvSpPr>
        <p:spPr>
          <a:xfrm>
            <a:off x="6545650" y="3949946"/>
            <a:ext cx="469976" cy="469976"/>
          </a:xfrm>
          <a:prstGeom prst="ellipse">
            <a:avLst/>
          </a:prstGeom>
          <a:solidFill>
            <a:srgbClr val="FAEB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5" name="Oval 34"/>
          <p:cNvSpPr/>
          <p:nvPr/>
        </p:nvSpPr>
        <p:spPr>
          <a:xfrm>
            <a:off x="6545650" y="1072916"/>
            <a:ext cx="469976" cy="469976"/>
          </a:xfrm>
          <a:prstGeom prst="ellipse">
            <a:avLst/>
          </a:prstGeom>
          <a:solidFill>
            <a:srgbClr val="FAEB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7" name="TextBox 36"/>
          <p:cNvSpPr txBox="1"/>
          <p:nvPr/>
        </p:nvSpPr>
        <p:spPr>
          <a:xfrm>
            <a:off x="6752235" y="1106765"/>
            <a:ext cx="415283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dirty="0">
                <a:latin typeface="Century Gothic" panose="020B0502020202020204" pitchFamily="34" charset="0"/>
              </a:rPr>
              <a:t>Заведение дефектов</a:t>
            </a:r>
          </a:p>
        </p:txBody>
      </p:sp>
      <p:sp>
        <p:nvSpPr>
          <p:cNvPr id="38" name="TextBox 37"/>
          <p:cNvSpPr txBox="1"/>
          <p:nvPr/>
        </p:nvSpPr>
        <p:spPr>
          <a:xfrm>
            <a:off x="6752235" y="2066136"/>
            <a:ext cx="415283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dirty="0">
                <a:latin typeface="Century Gothic" panose="020B0502020202020204" pitchFamily="34" charset="0"/>
              </a:rPr>
              <a:t>Регрессионное тестирование</a:t>
            </a:r>
          </a:p>
        </p:txBody>
      </p:sp>
      <p:sp>
        <p:nvSpPr>
          <p:cNvPr id="39" name="TextBox 38"/>
          <p:cNvSpPr txBox="1"/>
          <p:nvPr/>
        </p:nvSpPr>
        <p:spPr>
          <a:xfrm>
            <a:off x="6752235" y="3025507"/>
            <a:ext cx="468257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dirty="0">
                <a:latin typeface="Century Gothic" panose="020B0502020202020204" pitchFamily="34" charset="0"/>
              </a:rPr>
              <a:t>Интеграционное тестирование</a:t>
            </a:r>
          </a:p>
        </p:txBody>
      </p:sp>
      <p:sp>
        <p:nvSpPr>
          <p:cNvPr id="40" name="TextBox 39"/>
          <p:cNvSpPr txBox="1"/>
          <p:nvPr/>
        </p:nvSpPr>
        <p:spPr>
          <a:xfrm>
            <a:off x="6752235" y="3984879"/>
            <a:ext cx="415283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dirty="0">
                <a:latin typeface="Century Gothic" panose="020B0502020202020204" pitchFamily="34" charset="0"/>
              </a:rPr>
              <a:t>Оценка задач</a:t>
            </a:r>
          </a:p>
        </p:txBody>
      </p:sp>
      <p:sp>
        <p:nvSpPr>
          <p:cNvPr id="44" name="Oval 43"/>
          <p:cNvSpPr/>
          <p:nvPr/>
        </p:nvSpPr>
        <p:spPr>
          <a:xfrm>
            <a:off x="802249" y="5906666"/>
            <a:ext cx="469976" cy="469976"/>
          </a:xfrm>
          <a:prstGeom prst="ellipse">
            <a:avLst/>
          </a:prstGeom>
          <a:solidFill>
            <a:srgbClr val="FAEB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5" name="TextBox 44"/>
          <p:cNvSpPr txBox="1"/>
          <p:nvPr/>
        </p:nvSpPr>
        <p:spPr>
          <a:xfrm>
            <a:off x="1003376" y="5941599"/>
            <a:ext cx="476215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dirty="0">
                <a:latin typeface="Century Gothic" panose="020B0502020202020204" pitchFamily="34" charset="0"/>
              </a:rPr>
              <a:t>Тестирование задач</a:t>
            </a:r>
          </a:p>
        </p:txBody>
      </p:sp>
      <p:sp>
        <p:nvSpPr>
          <p:cNvPr id="46" name="Oval 45"/>
          <p:cNvSpPr/>
          <p:nvPr/>
        </p:nvSpPr>
        <p:spPr>
          <a:xfrm>
            <a:off x="6551108" y="4909318"/>
            <a:ext cx="469976" cy="469976"/>
          </a:xfrm>
          <a:prstGeom prst="ellipse">
            <a:avLst/>
          </a:prstGeom>
          <a:solidFill>
            <a:srgbClr val="FAEB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7" name="TextBox 46"/>
          <p:cNvSpPr txBox="1"/>
          <p:nvPr/>
        </p:nvSpPr>
        <p:spPr>
          <a:xfrm>
            <a:off x="6752235" y="4944251"/>
            <a:ext cx="476215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dirty="0" err="1">
                <a:latin typeface="Century Gothic" panose="020B0502020202020204" pitchFamily="34" charset="0"/>
              </a:rPr>
              <a:t>Ежеспринтовые</a:t>
            </a:r>
            <a:r>
              <a:rPr lang="ru-RU" sz="2000" dirty="0">
                <a:latin typeface="Century Gothic" panose="020B0502020202020204" pitchFamily="34" charset="0"/>
              </a:rPr>
              <a:t> встречи</a:t>
            </a:r>
          </a:p>
        </p:txBody>
      </p:sp>
    </p:spTree>
    <p:extLst>
      <p:ext uri="{BB962C8B-B14F-4D97-AF65-F5344CB8AC3E}">
        <p14:creationId xmlns:p14="http://schemas.microsoft.com/office/powerpoint/2010/main" val="335160896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>
                      <p:stCondLst>
                        <p:cond delay="indefinite"/>
                      </p:stCondLst>
                      <p:childTnLst>
                        <p:par>
                          <p:cTn id="64" fill="hold">
                            <p:stCondLst>
                              <p:cond delay="0"/>
                            </p:stCondLst>
                            <p:childTnLst>
                              <p:par>
                                <p:cTn id="6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P spid="21" grpId="0" animBg="1"/>
      <p:bldP spid="22" grpId="0" animBg="1"/>
      <p:bldP spid="24" grpId="0" animBg="1"/>
      <p:bldP spid="25" grpId="0" animBg="1"/>
      <p:bldP spid="26" grpId="0"/>
      <p:bldP spid="28" grpId="0"/>
      <p:bldP spid="29" grpId="0"/>
      <p:bldP spid="30" grpId="0"/>
      <p:bldP spid="31" grpId="0"/>
      <p:bldP spid="32" grpId="0" animBg="1"/>
      <p:bldP spid="33" grpId="0" animBg="1"/>
      <p:bldP spid="34" grpId="0" animBg="1"/>
      <p:bldP spid="35" grpId="0" animBg="1"/>
      <p:bldP spid="37" grpId="0"/>
      <p:bldP spid="38" grpId="0"/>
      <p:bldP spid="39" grpId="0"/>
      <p:bldP spid="40" grpId="0"/>
      <p:bldP spid="44" grpId="0" animBg="1"/>
      <p:bldP spid="45" grpId="0"/>
      <p:bldP spid="46" grpId="0" animBg="1"/>
      <p:bldP spid="47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2394171A-5786-43B3-A046-F9283A25914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9881" y="1144588"/>
            <a:ext cx="5322357" cy="1107996"/>
          </a:xfrm>
        </p:spPr>
        <p:txBody>
          <a:bodyPr/>
          <a:lstStyle/>
          <a:p>
            <a:r>
              <a:rPr lang="ru-RU" dirty="0">
                <a:latin typeface="Century Gothic" panose="020B0502020202020204" pitchFamily="34" charset="0"/>
              </a:rPr>
              <a:t>Ждем вас на следующих лекциях!</a:t>
            </a:r>
          </a:p>
        </p:txBody>
      </p:sp>
    </p:spTree>
    <p:extLst>
      <p:ext uri="{BB962C8B-B14F-4D97-AF65-F5344CB8AC3E}">
        <p14:creationId xmlns:p14="http://schemas.microsoft.com/office/powerpoint/2010/main" val="22512717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7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fld id="{E5521E86-09D5-4946-96C4-F588BCCA310C}" type="slidenum">
              <a:rPr lang="ru-RU" smtClean="0"/>
              <a:pPr>
                <a:defRPr/>
              </a:pPr>
              <a:t>2</a:t>
            </a:fld>
            <a:endParaRPr lang="ru-RU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88BB42C-4E7E-45F1-AB31-00086D65A63E}"/>
              </a:ext>
            </a:extLst>
          </p:cNvPr>
          <p:cNvSpPr txBox="1"/>
          <p:nvPr/>
        </p:nvSpPr>
        <p:spPr>
          <a:xfrm>
            <a:off x="749369" y="460861"/>
            <a:ext cx="3512238" cy="391042"/>
          </a:xfrm>
          <a:prstGeom prst="rect">
            <a:avLst/>
          </a:prstGeom>
          <a:solidFill>
            <a:srgbClr val="FFEB00"/>
          </a:solidFill>
        </p:spPr>
        <p:txBody>
          <a:bodyPr wrap="square" rtlCol="0">
            <a:spAutoFit/>
          </a:bodyPr>
          <a:lstStyle/>
          <a:p>
            <a:endParaRPr lang="en-US" sz="2600" b="1" dirty="0">
              <a:latin typeface="FuturaDemiC" panose="04000700000000000000" pitchFamily="82" charset="-52"/>
            </a:endParaRPr>
          </a:p>
        </p:txBody>
      </p:sp>
      <p:sp>
        <p:nvSpPr>
          <p:cNvPr id="11" name="Title 4"/>
          <p:cNvSpPr>
            <a:spLocks noGrp="1"/>
          </p:cNvSpPr>
          <p:nvPr>
            <p:ph type="title"/>
          </p:nvPr>
        </p:nvSpPr>
        <p:spPr>
          <a:xfrm>
            <a:off x="749369" y="478121"/>
            <a:ext cx="3091454" cy="762188"/>
          </a:xfrm>
        </p:spPr>
        <p:txBody>
          <a:bodyPr>
            <a:normAutofit/>
          </a:bodyPr>
          <a:lstStyle/>
          <a:p>
            <a:r>
              <a:rPr lang="ru-RU" sz="2400" b="1" dirty="0">
                <a:latin typeface="Century Gothic" panose="020B0502020202020204" pitchFamily="34" charset="0"/>
              </a:rPr>
              <a:t>Этапы разработки</a:t>
            </a:r>
          </a:p>
        </p:txBody>
      </p:sp>
      <p:sp>
        <p:nvSpPr>
          <p:cNvPr id="12" name="Rectangle 11"/>
          <p:cNvSpPr/>
          <p:nvPr/>
        </p:nvSpPr>
        <p:spPr>
          <a:xfrm>
            <a:off x="758826" y="1070132"/>
            <a:ext cx="2253881" cy="520117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b="1" dirty="0">
                <a:solidFill>
                  <a:schemeClr val="tx1"/>
                </a:solidFill>
                <a:latin typeface="Century Gothic" panose="020B0502020202020204" pitchFamily="34" charset="0"/>
              </a:rPr>
              <a:t>Бизнес требования</a:t>
            </a:r>
          </a:p>
        </p:txBody>
      </p:sp>
      <p:cxnSp>
        <p:nvCxnSpPr>
          <p:cNvPr id="21" name="Elbow Connector 20"/>
          <p:cNvCxnSpPr/>
          <p:nvPr/>
        </p:nvCxnSpPr>
        <p:spPr>
          <a:xfrm>
            <a:off x="1229273" y="1590248"/>
            <a:ext cx="414868" cy="407885"/>
          </a:xfrm>
          <a:prstGeom prst="bentConnector3">
            <a:avLst>
              <a:gd name="adj1" fmla="val 1021"/>
            </a:avLst>
          </a:prstGeom>
          <a:ln w="19050">
            <a:prstDash val="solid"/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Rectangle 49"/>
          <p:cNvSpPr/>
          <p:nvPr/>
        </p:nvSpPr>
        <p:spPr>
          <a:xfrm>
            <a:off x="1644141" y="1742649"/>
            <a:ext cx="2253881" cy="520117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b="1" dirty="0">
                <a:solidFill>
                  <a:schemeClr val="tx1"/>
                </a:solidFill>
                <a:latin typeface="Century Gothic" panose="020B0502020202020204" pitchFamily="34" charset="0"/>
              </a:rPr>
              <a:t>Системные требования</a:t>
            </a:r>
          </a:p>
        </p:txBody>
      </p:sp>
      <p:cxnSp>
        <p:nvCxnSpPr>
          <p:cNvPr id="51" name="Elbow Connector 50"/>
          <p:cNvCxnSpPr/>
          <p:nvPr/>
        </p:nvCxnSpPr>
        <p:spPr>
          <a:xfrm>
            <a:off x="2114588" y="2262765"/>
            <a:ext cx="414868" cy="407885"/>
          </a:xfrm>
          <a:prstGeom prst="bentConnector3">
            <a:avLst>
              <a:gd name="adj1" fmla="val 1021"/>
            </a:avLst>
          </a:prstGeom>
          <a:ln w="19050">
            <a:prstDash val="solid"/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Rectangle 51"/>
          <p:cNvSpPr/>
          <p:nvPr/>
        </p:nvSpPr>
        <p:spPr>
          <a:xfrm>
            <a:off x="2529456" y="2415166"/>
            <a:ext cx="2253881" cy="520117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b="1" dirty="0">
                <a:solidFill>
                  <a:schemeClr val="tx1"/>
                </a:solidFill>
                <a:latin typeface="Century Gothic" panose="020B0502020202020204" pitchFamily="34" charset="0"/>
              </a:rPr>
              <a:t>Анализ системы</a:t>
            </a:r>
          </a:p>
        </p:txBody>
      </p:sp>
      <p:cxnSp>
        <p:nvCxnSpPr>
          <p:cNvPr id="53" name="Elbow Connector 52"/>
          <p:cNvCxnSpPr/>
          <p:nvPr/>
        </p:nvCxnSpPr>
        <p:spPr>
          <a:xfrm>
            <a:off x="2999903" y="2935282"/>
            <a:ext cx="414868" cy="407885"/>
          </a:xfrm>
          <a:prstGeom prst="bentConnector3">
            <a:avLst>
              <a:gd name="adj1" fmla="val 1021"/>
            </a:avLst>
          </a:prstGeom>
          <a:ln w="19050">
            <a:prstDash val="solid"/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Rectangle 53"/>
          <p:cNvSpPr/>
          <p:nvPr/>
        </p:nvSpPr>
        <p:spPr>
          <a:xfrm>
            <a:off x="3414771" y="3087683"/>
            <a:ext cx="2253881" cy="520117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b="1" dirty="0">
                <a:solidFill>
                  <a:schemeClr val="tx1"/>
                </a:solidFill>
                <a:latin typeface="Century Gothic" panose="020B0502020202020204" pitchFamily="34" charset="0"/>
              </a:rPr>
              <a:t>Проектирование системы</a:t>
            </a:r>
          </a:p>
        </p:txBody>
      </p:sp>
      <p:cxnSp>
        <p:nvCxnSpPr>
          <p:cNvPr id="55" name="Elbow Connector 54"/>
          <p:cNvCxnSpPr/>
          <p:nvPr/>
        </p:nvCxnSpPr>
        <p:spPr>
          <a:xfrm>
            <a:off x="3885218" y="3607799"/>
            <a:ext cx="414868" cy="407885"/>
          </a:xfrm>
          <a:prstGeom prst="bentConnector3">
            <a:avLst>
              <a:gd name="adj1" fmla="val 1021"/>
            </a:avLst>
          </a:prstGeom>
          <a:ln w="19050">
            <a:prstDash val="solid"/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Rectangle 55"/>
          <p:cNvSpPr/>
          <p:nvPr/>
        </p:nvSpPr>
        <p:spPr>
          <a:xfrm>
            <a:off x="4300086" y="3760200"/>
            <a:ext cx="2253881" cy="520117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b="1" dirty="0">
                <a:solidFill>
                  <a:schemeClr val="tx1"/>
                </a:solidFill>
                <a:latin typeface="Century Gothic" panose="020B0502020202020204" pitchFamily="34" charset="0"/>
              </a:rPr>
              <a:t>Разработка</a:t>
            </a:r>
          </a:p>
        </p:txBody>
      </p:sp>
      <p:cxnSp>
        <p:nvCxnSpPr>
          <p:cNvPr id="57" name="Elbow Connector 56"/>
          <p:cNvCxnSpPr/>
          <p:nvPr/>
        </p:nvCxnSpPr>
        <p:spPr>
          <a:xfrm>
            <a:off x="4770533" y="4280316"/>
            <a:ext cx="414868" cy="407885"/>
          </a:xfrm>
          <a:prstGeom prst="bentConnector3">
            <a:avLst>
              <a:gd name="adj1" fmla="val 1021"/>
            </a:avLst>
          </a:prstGeom>
          <a:ln w="19050">
            <a:prstDash val="solid"/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Rectangle 57"/>
          <p:cNvSpPr/>
          <p:nvPr/>
        </p:nvSpPr>
        <p:spPr>
          <a:xfrm>
            <a:off x="5185401" y="4432717"/>
            <a:ext cx="2253881" cy="520117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b="1" dirty="0">
                <a:solidFill>
                  <a:schemeClr val="tx1"/>
                </a:solidFill>
                <a:latin typeface="Century Gothic" panose="020B0502020202020204" pitchFamily="34" charset="0"/>
              </a:rPr>
              <a:t>Тестирование</a:t>
            </a:r>
          </a:p>
        </p:txBody>
      </p:sp>
      <p:cxnSp>
        <p:nvCxnSpPr>
          <p:cNvPr id="59" name="Elbow Connector 58"/>
          <p:cNvCxnSpPr/>
          <p:nvPr/>
        </p:nvCxnSpPr>
        <p:spPr>
          <a:xfrm>
            <a:off x="5655848" y="4952833"/>
            <a:ext cx="414868" cy="407885"/>
          </a:xfrm>
          <a:prstGeom prst="bentConnector3">
            <a:avLst>
              <a:gd name="adj1" fmla="val 1021"/>
            </a:avLst>
          </a:prstGeom>
          <a:ln w="19050">
            <a:prstDash val="solid"/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Rectangle 59"/>
          <p:cNvSpPr/>
          <p:nvPr/>
        </p:nvSpPr>
        <p:spPr>
          <a:xfrm>
            <a:off x="6070716" y="5105234"/>
            <a:ext cx="2253881" cy="520117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b="1" dirty="0">
                <a:solidFill>
                  <a:schemeClr val="tx1"/>
                </a:solidFill>
                <a:latin typeface="Century Gothic" panose="020B0502020202020204" pitchFamily="34" charset="0"/>
              </a:rPr>
              <a:t>Приемка</a:t>
            </a:r>
          </a:p>
        </p:txBody>
      </p:sp>
      <p:cxnSp>
        <p:nvCxnSpPr>
          <p:cNvPr id="61" name="Elbow Connector 60"/>
          <p:cNvCxnSpPr/>
          <p:nvPr/>
        </p:nvCxnSpPr>
        <p:spPr>
          <a:xfrm>
            <a:off x="6541163" y="5625350"/>
            <a:ext cx="414868" cy="407885"/>
          </a:xfrm>
          <a:prstGeom prst="bentConnector3">
            <a:avLst>
              <a:gd name="adj1" fmla="val 1021"/>
            </a:avLst>
          </a:prstGeom>
          <a:ln w="19050">
            <a:prstDash val="solid"/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Rectangle 61"/>
          <p:cNvSpPr/>
          <p:nvPr/>
        </p:nvSpPr>
        <p:spPr>
          <a:xfrm>
            <a:off x="6956031" y="5777751"/>
            <a:ext cx="2253881" cy="520117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b="1" dirty="0">
                <a:solidFill>
                  <a:schemeClr val="tx1"/>
                </a:solidFill>
                <a:latin typeface="Century Gothic" panose="020B0502020202020204" pitchFamily="34" charset="0"/>
              </a:rPr>
              <a:t>Эксплуатация</a:t>
            </a:r>
          </a:p>
        </p:txBody>
      </p:sp>
    </p:spTree>
    <p:extLst>
      <p:ext uri="{BB962C8B-B14F-4D97-AF65-F5344CB8AC3E}">
        <p14:creationId xmlns:p14="http://schemas.microsoft.com/office/powerpoint/2010/main" val="355613051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  <p:bldP spid="50" grpId="0" animBg="1"/>
      <p:bldP spid="52" grpId="0" animBg="1"/>
      <p:bldP spid="54" grpId="0" animBg="1"/>
      <p:bldP spid="56" grpId="0" animBg="1"/>
      <p:bldP spid="58" grpId="0" animBg="1"/>
      <p:bldP spid="60" grpId="0" animBg="1"/>
      <p:bldP spid="62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7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fld id="{E5521E86-09D5-4946-96C4-F588BCCA310C}" type="slidenum">
              <a:rPr lang="ru-RU" smtClean="0"/>
              <a:pPr>
                <a:defRPr/>
              </a:pPr>
              <a:t>3</a:t>
            </a:fld>
            <a:endParaRPr lang="ru-RU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88BB42C-4E7E-45F1-AB31-00086D65A63E}"/>
              </a:ext>
            </a:extLst>
          </p:cNvPr>
          <p:cNvSpPr txBox="1"/>
          <p:nvPr/>
        </p:nvSpPr>
        <p:spPr>
          <a:xfrm>
            <a:off x="749369" y="443928"/>
            <a:ext cx="6506564" cy="391042"/>
          </a:xfrm>
          <a:prstGeom prst="rect">
            <a:avLst/>
          </a:prstGeom>
          <a:solidFill>
            <a:srgbClr val="FFEB00"/>
          </a:solidFill>
        </p:spPr>
        <p:txBody>
          <a:bodyPr wrap="square" rtlCol="0">
            <a:spAutoFit/>
          </a:bodyPr>
          <a:lstStyle/>
          <a:p>
            <a:endParaRPr lang="en-US" sz="2600" b="1" dirty="0">
              <a:latin typeface="FuturaDemiC" panose="04000700000000000000" pitchFamily="82" charset="-52"/>
            </a:endParaRPr>
          </a:p>
        </p:txBody>
      </p:sp>
      <p:sp>
        <p:nvSpPr>
          <p:cNvPr id="11" name="Title 4"/>
          <p:cNvSpPr>
            <a:spLocks noGrp="1"/>
          </p:cNvSpPr>
          <p:nvPr>
            <p:ph type="title"/>
          </p:nvPr>
        </p:nvSpPr>
        <p:spPr>
          <a:xfrm>
            <a:off x="749369" y="478121"/>
            <a:ext cx="5804598" cy="762188"/>
          </a:xfrm>
        </p:spPr>
        <p:txBody>
          <a:bodyPr>
            <a:normAutofit/>
          </a:bodyPr>
          <a:lstStyle/>
          <a:p>
            <a:r>
              <a:rPr lang="ru-RU" sz="2400" b="1" dirty="0">
                <a:latin typeface="Century Gothic" panose="020B0502020202020204" pitchFamily="34" charset="0"/>
              </a:rPr>
              <a:t>Получаем быструю обратную связь</a:t>
            </a:r>
          </a:p>
        </p:txBody>
      </p:sp>
      <p:sp>
        <p:nvSpPr>
          <p:cNvPr id="12" name="Rectangle 11"/>
          <p:cNvSpPr/>
          <p:nvPr/>
        </p:nvSpPr>
        <p:spPr>
          <a:xfrm>
            <a:off x="758826" y="1425736"/>
            <a:ext cx="2593974" cy="520117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b="1" dirty="0">
                <a:solidFill>
                  <a:schemeClr val="tx1"/>
                </a:solidFill>
                <a:latin typeface="Century Gothic" panose="020B0502020202020204" pitchFamily="34" charset="0"/>
              </a:rPr>
              <a:t>Анализ</a:t>
            </a:r>
          </a:p>
        </p:txBody>
      </p:sp>
      <p:cxnSp>
        <p:nvCxnSpPr>
          <p:cNvPr id="21" name="Elbow Connector 20"/>
          <p:cNvCxnSpPr/>
          <p:nvPr/>
        </p:nvCxnSpPr>
        <p:spPr>
          <a:xfrm rot="16200000" flipH="1">
            <a:off x="1358688" y="1969881"/>
            <a:ext cx="644950" cy="596898"/>
          </a:xfrm>
          <a:prstGeom prst="bentConnector3">
            <a:avLst>
              <a:gd name="adj1" fmla="val 99885"/>
            </a:avLst>
          </a:prstGeom>
          <a:ln w="19050">
            <a:prstDash val="solid"/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Rectangle 32"/>
          <p:cNvSpPr/>
          <p:nvPr/>
        </p:nvSpPr>
        <p:spPr>
          <a:xfrm>
            <a:off x="1979612" y="2330746"/>
            <a:ext cx="2593974" cy="520117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b="1" dirty="0">
                <a:solidFill>
                  <a:schemeClr val="tx1"/>
                </a:solidFill>
                <a:latin typeface="Century Gothic" panose="020B0502020202020204" pitchFamily="34" charset="0"/>
              </a:rPr>
              <a:t>Разработка</a:t>
            </a:r>
          </a:p>
        </p:txBody>
      </p:sp>
      <p:cxnSp>
        <p:nvCxnSpPr>
          <p:cNvPr id="34" name="Elbow Connector 33"/>
          <p:cNvCxnSpPr/>
          <p:nvPr/>
        </p:nvCxnSpPr>
        <p:spPr>
          <a:xfrm rot="16200000" flipH="1">
            <a:off x="2579474" y="2874891"/>
            <a:ext cx="644950" cy="596898"/>
          </a:xfrm>
          <a:prstGeom prst="bentConnector3">
            <a:avLst>
              <a:gd name="adj1" fmla="val 99885"/>
            </a:avLst>
          </a:prstGeom>
          <a:ln w="19050">
            <a:prstDash val="solid"/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Rectangle 34"/>
          <p:cNvSpPr/>
          <p:nvPr/>
        </p:nvSpPr>
        <p:spPr>
          <a:xfrm>
            <a:off x="3200398" y="3235756"/>
            <a:ext cx="2593974" cy="520117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b="1" dirty="0">
                <a:solidFill>
                  <a:schemeClr val="tx1"/>
                </a:solidFill>
                <a:latin typeface="Century Gothic" panose="020B0502020202020204" pitchFamily="34" charset="0"/>
              </a:rPr>
              <a:t>Тестирование</a:t>
            </a:r>
          </a:p>
        </p:txBody>
      </p:sp>
      <p:cxnSp>
        <p:nvCxnSpPr>
          <p:cNvPr id="37" name="Elbow Connector 36"/>
          <p:cNvCxnSpPr/>
          <p:nvPr/>
        </p:nvCxnSpPr>
        <p:spPr>
          <a:xfrm rot="16200000" flipV="1">
            <a:off x="4549560" y="2615944"/>
            <a:ext cx="644950" cy="596898"/>
          </a:xfrm>
          <a:prstGeom prst="bentConnector3">
            <a:avLst>
              <a:gd name="adj1" fmla="val 99885"/>
            </a:avLst>
          </a:prstGeom>
          <a:ln w="19050">
            <a:prstDash val="solid"/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Elbow Connector 37"/>
          <p:cNvCxnSpPr/>
          <p:nvPr/>
        </p:nvCxnSpPr>
        <p:spPr>
          <a:xfrm rot="16200000" flipV="1">
            <a:off x="3329193" y="1709822"/>
            <a:ext cx="644950" cy="596898"/>
          </a:xfrm>
          <a:prstGeom prst="bentConnector3">
            <a:avLst>
              <a:gd name="adj1" fmla="val 99885"/>
            </a:avLst>
          </a:prstGeom>
          <a:ln w="19050">
            <a:prstDash val="solid"/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Elbow Connector 38"/>
          <p:cNvCxnSpPr/>
          <p:nvPr/>
        </p:nvCxnSpPr>
        <p:spPr>
          <a:xfrm rot="16200000" flipH="1">
            <a:off x="3812961" y="3779900"/>
            <a:ext cx="644950" cy="596898"/>
          </a:xfrm>
          <a:prstGeom prst="bentConnector3">
            <a:avLst>
              <a:gd name="adj1" fmla="val 99885"/>
            </a:avLst>
          </a:prstGeom>
          <a:ln w="19050">
            <a:prstDash val="solid"/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Rectangle 39"/>
          <p:cNvSpPr/>
          <p:nvPr/>
        </p:nvSpPr>
        <p:spPr>
          <a:xfrm>
            <a:off x="4433885" y="4140765"/>
            <a:ext cx="2593974" cy="520117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b="1" dirty="0">
                <a:solidFill>
                  <a:schemeClr val="tx1"/>
                </a:solidFill>
                <a:latin typeface="Century Gothic" panose="020B0502020202020204" pitchFamily="34" charset="0"/>
              </a:rPr>
              <a:t>Эксплуатация</a:t>
            </a:r>
          </a:p>
        </p:txBody>
      </p:sp>
    </p:spTree>
    <p:extLst>
      <p:ext uri="{BB962C8B-B14F-4D97-AF65-F5344CB8AC3E}">
        <p14:creationId xmlns:p14="http://schemas.microsoft.com/office/powerpoint/2010/main" val="301605501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  <p:bldP spid="33" grpId="0" animBg="1"/>
      <p:bldP spid="35" grpId="0" animBg="1"/>
      <p:bldP spid="40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7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fld id="{E5521E86-09D5-4946-96C4-F588BCCA310C}" type="slidenum">
              <a:rPr lang="ru-RU" smtClean="0"/>
              <a:pPr>
                <a:defRPr/>
              </a:pPr>
              <a:t>4</a:t>
            </a:fld>
            <a:endParaRPr lang="ru-RU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88BB42C-4E7E-45F1-AB31-00086D65A63E}"/>
              </a:ext>
            </a:extLst>
          </p:cNvPr>
          <p:cNvSpPr txBox="1"/>
          <p:nvPr/>
        </p:nvSpPr>
        <p:spPr>
          <a:xfrm>
            <a:off x="749369" y="443928"/>
            <a:ext cx="3695631" cy="391042"/>
          </a:xfrm>
          <a:prstGeom prst="rect">
            <a:avLst/>
          </a:prstGeom>
          <a:solidFill>
            <a:srgbClr val="FFEB00"/>
          </a:solidFill>
        </p:spPr>
        <p:txBody>
          <a:bodyPr wrap="square" rtlCol="0">
            <a:spAutoFit/>
          </a:bodyPr>
          <a:lstStyle/>
          <a:p>
            <a:endParaRPr lang="en-US" sz="2600" b="1" dirty="0">
              <a:latin typeface="FuturaDemiC" panose="04000700000000000000" pitchFamily="82" charset="-52"/>
            </a:endParaRPr>
          </a:p>
        </p:txBody>
      </p:sp>
      <p:sp>
        <p:nvSpPr>
          <p:cNvPr id="11" name="Title 4"/>
          <p:cNvSpPr>
            <a:spLocks noGrp="1"/>
          </p:cNvSpPr>
          <p:nvPr>
            <p:ph type="title"/>
          </p:nvPr>
        </p:nvSpPr>
        <p:spPr>
          <a:xfrm>
            <a:off x="749369" y="478121"/>
            <a:ext cx="5804598" cy="762188"/>
          </a:xfrm>
        </p:spPr>
        <p:txBody>
          <a:bodyPr>
            <a:normAutofit/>
          </a:bodyPr>
          <a:lstStyle/>
          <a:p>
            <a:r>
              <a:rPr lang="ru-RU" sz="2400" b="1" dirty="0">
                <a:latin typeface="Century Gothic" panose="020B0502020202020204" pitchFamily="34" charset="0"/>
              </a:rPr>
              <a:t>Фреймворк </a:t>
            </a:r>
            <a:r>
              <a:rPr lang="en-US" sz="2400" b="1" dirty="0">
                <a:latin typeface="Century Gothic" panose="020B0502020202020204" pitchFamily="34" charset="0"/>
              </a:rPr>
              <a:t>Scrum</a:t>
            </a:r>
            <a:endParaRPr lang="ru-RU" sz="2400" b="1" dirty="0">
              <a:latin typeface="Century Gothic" panose="020B0502020202020204" pitchFamily="34" charset="0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749369" y="1240309"/>
            <a:ext cx="10294870" cy="554624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1">
            <a:noAutofit/>
          </a:bodyPr>
          <a:lstStyle/>
          <a:p>
            <a:pPr algn="ctr"/>
            <a:r>
              <a:rPr lang="en-US" sz="2000" b="1" spc="600" dirty="0">
                <a:solidFill>
                  <a:schemeClr val="tx1"/>
                </a:solidFill>
                <a:latin typeface="Century Gothic" panose="020B0502020202020204" pitchFamily="34" charset="0"/>
              </a:rPr>
              <a:t>DEV TEAM</a:t>
            </a:r>
            <a:endParaRPr lang="ru-RU" sz="2000" b="1" spc="600" dirty="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grpSp>
        <p:nvGrpSpPr>
          <p:cNvPr id="13" name="Group 12"/>
          <p:cNvGrpSpPr/>
          <p:nvPr/>
        </p:nvGrpSpPr>
        <p:grpSpPr>
          <a:xfrm>
            <a:off x="943690" y="2856790"/>
            <a:ext cx="2709904" cy="659654"/>
            <a:chOff x="1278718" y="2932995"/>
            <a:chExt cx="2709904" cy="659654"/>
          </a:xfrm>
        </p:grpSpPr>
        <p:pic>
          <p:nvPicPr>
            <p:cNvPr id="2" name="Picture 1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78718" y="2932995"/>
              <a:ext cx="659654" cy="659654"/>
            </a:xfrm>
            <a:prstGeom prst="rect">
              <a:avLst/>
            </a:prstGeom>
          </p:spPr>
        </p:pic>
        <p:sp>
          <p:nvSpPr>
            <p:cNvPr id="3" name="TextBox 2"/>
            <p:cNvSpPr txBox="1"/>
            <p:nvPr/>
          </p:nvSpPr>
          <p:spPr>
            <a:xfrm>
              <a:off x="2103169" y="3078781"/>
              <a:ext cx="1885453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>
                  <a:latin typeface="Century Gothic" panose="020B0502020202020204" pitchFamily="34" charset="0"/>
                </a:rPr>
                <a:t>Product Owner</a:t>
              </a:r>
              <a:endParaRPr lang="ru-RU" dirty="0">
                <a:latin typeface="Century Gothic" panose="020B0502020202020204" pitchFamily="34" charset="0"/>
              </a:endParaRPr>
            </a:p>
          </p:txBody>
        </p:sp>
      </p:grpSp>
      <p:sp>
        <p:nvSpPr>
          <p:cNvPr id="9" name="TextBox 8"/>
          <p:cNvSpPr txBox="1"/>
          <p:nvPr/>
        </p:nvSpPr>
        <p:spPr>
          <a:xfrm>
            <a:off x="6563247" y="3660697"/>
            <a:ext cx="212513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Century Gothic" panose="020B0502020202020204" pitchFamily="34" charset="0"/>
              </a:rPr>
              <a:t>Planning</a:t>
            </a:r>
            <a:endParaRPr lang="ru-RU" dirty="0">
              <a:latin typeface="Century Gothic" panose="020B0502020202020204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6563247" y="4306290"/>
            <a:ext cx="212513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Century Gothic" panose="020B0502020202020204" pitchFamily="34" charset="0"/>
              </a:rPr>
              <a:t>Review</a:t>
            </a:r>
            <a:endParaRPr lang="ru-RU" dirty="0">
              <a:latin typeface="Century Gothic" panose="020B0502020202020204" pitchFamily="34" charset="0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6563247" y="4951883"/>
            <a:ext cx="212513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Century Gothic" panose="020B0502020202020204" pitchFamily="34" charset="0"/>
              </a:rPr>
              <a:t>Retro</a:t>
            </a:r>
            <a:endParaRPr lang="ru-RU" dirty="0">
              <a:latin typeface="Century Gothic" panose="020B0502020202020204" pitchFamily="34" charset="0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6563247" y="3015104"/>
            <a:ext cx="212513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Century Gothic" panose="020B0502020202020204" pitchFamily="34" charset="0"/>
              </a:rPr>
              <a:t>Daily</a:t>
            </a:r>
            <a:endParaRPr lang="ru-RU" dirty="0">
              <a:latin typeface="Century Gothic" panose="020B0502020202020204" pitchFamily="34" charset="0"/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749369" y="1909359"/>
            <a:ext cx="5027268" cy="554624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1">
            <a:noAutofit/>
          </a:bodyPr>
          <a:lstStyle/>
          <a:p>
            <a:pPr algn="ctr"/>
            <a:r>
              <a:rPr lang="en-US" sz="2000" b="1" spc="600" dirty="0">
                <a:solidFill>
                  <a:schemeClr val="tx1"/>
                </a:solidFill>
                <a:latin typeface="Century Gothic" panose="020B0502020202020204" pitchFamily="34" charset="0"/>
              </a:rPr>
              <a:t>ROLES</a:t>
            </a:r>
            <a:endParaRPr lang="ru-RU" sz="2000" b="1" spc="600" dirty="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sp>
        <p:nvSpPr>
          <p:cNvPr id="27" name="Rectangle 26"/>
          <p:cNvSpPr/>
          <p:nvPr/>
        </p:nvSpPr>
        <p:spPr>
          <a:xfrm>
            <a:off x="6016970" y="1909359"/>
            <a:ext cx="5027268" cy="554624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1">
            <a:noAutofit/>
          </a:bodyPr>
          <a:lstStyle/>
          <a:p>
            <a:pPr algn="ctr"/>
            <a:r>
              <a:rPr lang="en-US" sz="2000" b="1" spc="600" dirty="0">
                <a:solidFill>
                  <a:schemeClr val="tx1"/>
                </a:solidFill>
                <a:latin typeface="Century Gothic" panose="020B0502020202020204" pitchFamily="34" charset="0"/>
              </a:rPr>
              <a:t>MEETINGS</a:t>
            </a:r>
            <a:endParaRPr lang="ru-RU" sz="2000" b="1" spc="600" dirty="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grpSp>
        <p:nvGrpSpPr>
          <p:cNvPr id="14" name="Group 13"/>
          <p:cNvGrpSpPr/>
          <p:nvPr/>
        </p:nvGrpSpPr>
        <p:grpSpPr>
          <a:xfrm>
            <a:off x="943690" y="3996669"/>
            <a:ext cx="2185721" cy="659654"/>
            <a:chOff x="1278718" y="4073187"/>
            <a:chExt cx="2185721" cy="659654"/>
          </a:xfrm>
        </p:grpSpPr>
        <p:sp>
          <p:nvSpPr>
            <p:cNvPr id="22" name="TextBox 21"/>
            <p:cNvSpPr txBox="1"/>
            <p:nvPr/>
          </p:nvSpPr>
          <p:spPr>
            <a:xfrm>
              <a:off x="2103169" y="4218348"/>
              <a:ext cx="1361270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>
                  <a:latin typeface="Century Gothic" panose="020B0502020202020204" pitchFamily="34" charset="0"/>
                </a:rPr>
                <a:t>Tech Lead</a:t>
              </a:r>
              <a:endParaRPr lang="ru-RU" dirty="0">
                <a:latin typeface="Century Gothic" panose="020B0502020202020204" pitchFamily="34" charset="0"/>
              </a:endParaRPr>
            </a:p>
          </p:txBody>
        </p:sp>
        <p:pic>
          <p:nvPicPr>
            <p:cNvPr id="30" name="Picture 29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78718" y="4073187"/>
              <a:ext cx="659654" cy="659654"/>
            </a:xfrm>
            <a:prstGeom prst="rect">
              <a:avLst/>
            </a:prstGeom>
          </p:spPr>
        </p:pic>
      </p:grpSp>
      <p:grpSp>
        <p:nvGrpSpPr>
          <p:cNvPr id="15" name="Group 14"/>
          <p:cNvGrpSpPr/>
          <p:nvPr/>
        </p:nvGrpSpPr>
        <p:grpSpPr>
          <a:xfrm>
            <a:off x="943690" y="5136549"/>
            <a:ext cx="2520749" cy="659654"/>
            <a:chOff x="1278718" y="5212754"/>
            <a:chExt cx="2520749" cy="659654"/>
          </a:xfrm>
        </p:grpSpPr>
        <p:sp>
          <p:nvSpPr>
            <p:cNvPr id="23" name="TextBox 22"/>
            <p:cNvSpPr txBox="1"/>
            <p:nvPr/>
          </p:nvSpPr>
          <p:spPr>
            <a:xfrm>
              <a:off x="2103169" y="5357915"/>
              <a:ext cx="1696298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>
                  <a:latin typeface="Century Gothic" panose="020B0502020202020204" pitchFamily="34" charset="0"/>
                </a:rPr>
                <a:t>Scrum Master</a:t>
              </a:r>
              <a:endParaRPr lang="ru-RU" dirty="0">
                <a:latin typeface="Century Gothic" panose="020B0502020202020204" pitchFamily="34" charset="0"/>
              </a:endParaRPr>
            </a:p>
          </p:txBody>
        </p:sp>
        <p:pic>
          <p:nvPicPr>
            <p:cNvPr id="31" name="Picture 30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78718" y="5212754"/>
              <a:ext cx="659654" cy="65965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41529173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  <p:bldP spid="9" grpId="0"/>
      <p:bldP spid="20" grpId="0"/>
      <p:bldP spid="21" grpId="0"/>
      <p:bldP spid="24" grpId="0"/>
      <p:bldP spid="25" grpId="0" animBg="1"/>
      <p:bldP spid="27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7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fld id="{E5521E86-09D5-4946-96C4-F588BCCA310C}" type="slidenum">
              <a:rPr lang="ru-RU" smtClean="0"/>
              <a:pPr>
                <a:defRPr/>
              </a:pPr>
              <a:t>5</a:t>
            </a:fld>
            <a:endParaRPr lang="ru-RU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88BB42C-4E7E-45F1-AB31-00086D65A63E}"/>
              </a:ext>
            </a:extLst>
          </p:cNvPr>
          <p:cNvSpPr txBox="1"/>
          <p:nvPr/>
        </p:nvSpPr>
        <p:spPr>
          <a:xfrm>
            <a:off x="749369" y="443928"/>
            <a:ext cx="3695631" cy="391042"/>
          </a:xfrm>
          <a:prstGeom prst="rect">
            <a:avLst/>
          </a:prstGeom>
          <a:solidFill>
            <a:srgbClr val="FFEB00"/>
          </a:solidFill>
        </p:spPr>
        <p:txBody>
          <a:bodyPr wrap="square" rtlCol="0">
            <a:spAutoFit/>
          </a:bodyPr>
          <a:lstStyle/>
          <a:p>
            <a:endParaRPr lang="en-US" sz="2600" b="1" dirty="0">
              <a:latin typeface="FuturaDemiC" panose="04000700000000000000" pitchFamily="82" charset="-52"/>
            </a:endParaRPr>
          </a:p>
        </p:txBody>
      </p:sp>
      <p:sp>
        <p:nvSpPr>
          <p:cNvPr id="11" name="Title 4"/>
          <p:cNvSpPr>
            <a:spLocks noGrp="1"/>
          </p:cNvSpPr>
          <p:nvPr>
            <p:ph type="title"/>
          </p:nvPr>
        </p:nvSpPr>
        <p:spPr>
          <a:xfrm>
            <a:off x="749369" y="478121"/>
            <a:ext cx="5804598" cy="762188"/>
          </a:xfrm>
        </p:spPr>
        <p:txBody>
          <a:bodyPr>
            <a:normAutofit/>
          </a:bodyPr>
          <a:lstStyle/>
          <a:p>
            <a:r>
              <a:rPr lang="ru-RU" sz="2400" b="1" dirty="0">
                <a:latin typeface="Century Gothic" panose="020B0502020202020204" pitchFamily="34" charset="0"/>
              </a:rPr>
              <a:t>Этапы разработки</a:t>
            </a:r>
          </a:p>
        </p:txBody>
      </p:sp>
      <p:grpSp>
        <p:nvGrpSpPr>
          <p:cNvPr id="2" name="Группа 1">
            <a:extLst>
              <a:ext uri="{FF2B5EF4-FFF2-40B4-BE49-F238E27FC236}">
                <a16:creationId xmlns:a16="http://schemas.microsoft.com/office/drawing/2014/main" id="{101B0DFE-2328-4B62-A159-A976D8784279}"/>
              </a:ext>
            </a:extLst>
          </p:cNvPr>
          <p:cNvGrpSpPr/>
          <p:nvPr/>
        </p:nvGrpSpPr>
        <p:grpSpPr>
          <a:xfrm>
            <a:off x="740909" y="1137019"/>
            <a:ext cx="2387601" cy="1107996"/>
            <a:chOff x="740909" y="1137019"/>
            <a:chExt cx="2387601" cy="1107996"/>
          </a:xfrm>
        </p:grpSpPr>
        <p:sp>
          <p:nvSpPr>
            <p:cNvPr id="32" name="TextBox 31"/>
            <p:cNvSpPr txBox="1"/>
            <p:nvPr/>
          </p:nvSpPr>
          <p:spPr>
            <a:xfrm>
              <a:off x="740909" y="1137019"/>
              <a:ext cx="1138698" cy="110799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6600" b="1" dirty="0">
                  <a:solidFill>
                    <a:srgbClr val="FAEB00"/>
                  </a:solidFill>
                  <a:latin typeface="Century Gothic" panose="020B0502020202020204" pitchFamily="34" charset="0"/>
                </a:rPr>
                <a:t>1</a:t>
              </a:r>
            </a:p>
          </p:txBody>
        </p:sp>
        <p:sp>
          <p:nvSpPr>
            <p:cNvPr id="24" name="TextBox 23"/>
            <p:cNvSpPr txBox="1"/>
            <p:nvPr/>
          </p:nvSpPr>
          <p:spPr>
            <a:xfrm>
              <a:off x="1003376" y="1509783"/>
              <a:ext cx="2125134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2000" dirty="0">
                  <a:latin typeface="Century Gothic" panose="020B0502020202020204" pitchFamily="34" charset="0"/>
                </a:rPr>
                <a:t>Планирование</a:t>
              </a:r>
            </a:p>
          </p:txBody>
        </p:sp>
      </p:grpSp>
      <p:grpSp>
        <p:nvGrpSpPr>
          <p:cNvPr id="3" name="Группа 2">
            <a:extLst>
              <a:ext uri="{FF2B5EF4-FFF2-40B4-BE49-F238E27FC236}">
                <a16:creationId xmlns:a16="http://schemas.microsoft.com/office/drawing/2014/main" id="{DDAF0EDB-68E0-4877-9384-0BE1F73DC2EE}"/>
              </a:ext>
            </a:extLst>
          </p:cNvPr>
          <p:cNvGrpSpPr/>
          <p:nvPr/>
        </p:nvGrpSpPr>
        <p:grpSpPr>
          <a:xfrm>
            <a:off x="740909" y="3857053"/>
            <a:ext cx="3416231" cy="1107996"/>
            <a:chOff x="740909" y="3857053"/>
            <a:chExt cx="3416231" cy="1107996"/>
          </a:xfrm>
        </p:grpSpPr>
        <p:sp>
          <p:nvSpPr>
            <p:cNvPr id="33" name="TextBox 32"/>
            <p:cNvSpPr txBox="1"/>
            <p:nvPr/>
          </p:nvSpPr>
          <p:spPr>
            <a:xfrm>
              <a:off x="740909" y="3857053"/>
              <a:ext cx="1138698" cy="110799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6600" b="1" dirty="0">
                  <a:solidFill>
                    <a:srgbClr val="FAEB00"/>
                  </a:solidFill>
                  <a:latin typeface="Century Gothic" panose="020B0502020202020204" pitchFamily="34" charset="0"/>
                </a:rPr>
                <a:t>2</a:t>
              </a:r>
            </a:p>
          </p:txBody>
        </p:sp>
        <p:sp>
          <p:nvSpPr>
            <p:cNvPr id="26" name="TextBox 25"/>
            <p:cNvSpPr txBox="1"/>
            <p:nvPr/>
          </p:nvSpPr>
          <p:spPr>
            <a:xfrm>
              <a:off x="1003376" y="4210996"/>
              <a:ext cx="3153764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2000" dirty="0">
                  <a:latin typeface="Century Gothic" panose="020B0502020202020204" pitchFamily="34" charset="0"/>
                </a:rPr>
                <a:t>Бизнес требования</a:t>
              </a:r>
            </a:p>
          </p:txBody>
        </p:sp>
      </p:grpSp>
      <p:grpSp>
        <p:nvGrpSpPr>
          <p:cNvPr id="4" name="Группа 3">
            <a:extLst>
              <a:ext uri="{FF2B5EF4-FFF2-40B4-BE49-F238E27FC236}">
                <a16:creationId xmlns:a16="http://schemas.microsoft.com/office/drawing/2014/main" id="{35644C81-0806-4048-BC84-E079EBFE0D1F}"/>
              </a:ext>
            </a:extLst>
          </p:cNvPr>
          <p:cNvGrpSpPr/>
          <p:nvPr/>
        </p:nvGrpSpPr>
        <p:grpSpPr>
          <a:xfrm>
            <a:off x="740909" y="4953006"/>
            <a:ext cx="4415297" cy="1107996"/>
            <a:chOff x="740909" y="4953006"/>
            <a:chExt cx="4415297" cy="1107996"/>
          </a:xfrm>
        </p:grpSpPr>
        <p:sp>
          <p:nvSpPr>
            <p:cNvPr id="34" name="TextBox 33"/>
            <p:cNvSpPr txBox="1"/>
            <p:nvPr/>
          </p:nvSpPr>
          <p:spPr>
            <a:xfrm>
              <a:off x="740909" y="4953006"/>
              <a:ext cx="1138698" cy="110799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6600" b="1" dirty="0">
                  <a:solidFill>
                    <a:srgbClr val="FAEB00"/>
                  </a:solidFill>
                  <a:latin typeface="Century Gothic" panose="020B0502020202020204" pitchFamily="34" charset="0"/>
                </a:rPr>
                <a:t>3</a:t>
              </a:r>
            </a:p>
          </p:txBody>
        </p:sp>
        <p:sp>
          <p:nvSpPr>
            <p:cNvPr id="28" name="TextBox 27"/>
            <p:cNvSpPr txBox="1"/>
            <p:nvPr/>
          </p:nvSpPr>
          <p:spPr>
            <a:xfrm>
              <a:off x="1003375" y="5308000"/>
              <a:ext cx="4152831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2000" dirty="0">
                  <a:latin typeface="Century Gothic" panose="020B0502020202020204" pitchFamily="34" charset="0"/>
                </a:rPr>
                <a:t>Функциональные требования</a:t>
              </a:r>
            </a:p>
          </p:txBody>
        </p:sp>
      </p:grpSp>
      <p:sp>
        <p:nvSpPr>
          <p:cNvPr id="29" name="TextBox 28"/>
          <p:cNvSpPr txBox="1"/>
          <p:nvPr/>
        </p:nvSpPr>
        <p:spPr>
          <a:xfrm>
            <a:off x="1282768" y="2083089"/>
            <a:ext cx="6845231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Tx/>
              <a:buChar char="-"/>
            </a:pPr>
            <a:r>
              <a:rPr lang="ru-RU" sz="1600" dirty="0">
                <a:latin typeface="Century Gothic" panose="020B0502020202020204" pitchFamily="34" charset="0"/>
              </a:rPr>
              <a:t>Почему проект должен разрабатываться?</a:t>
            </a:r>
          </a:p>
          <a:p>
            <a:pPr marL="285750" indent="-285750">
              <a:buFontTx/>
              <a:buChar char="-"/>
            </a:pPr>
            <a:r>
              <a:rPr lang="ru-RU" sz="1600" dirty="0">
                <a:latin typeface="Century Gothic" panose="020B0502020202020204" pitchFamily="34" charset="0"/>
              </a:rPr>
              <a:t>Что будем разрабатывать?</a:t>
            </a:r>
          </a:p>
          <a:p>
            <a:pPr marL="285750" indent="-285750">
              <a:buFontTx/>
              <a:buChar char="-"/>
            </a:pPr>
            <a:r>
              <a:rPr lang="ru-RU" sz="1600" dirty="0">
                <a:latin typeface="Century Gothic" panose="020B0502020202020204" pitchFamily="34" charset="0"/>
              </a:rPr>
              <a:t>Кто будет отвечать за разработку?</a:t>
            </a:r>
          </a:p>
          <a:p>
            <a:pPr marL="285750" indent="-285750">
              <a:buFontTx/>
              <a:buChar char="-"/>
            </a:pPr>
            <a:r>
              <a:rPr lang="ru-RU" sz="1600" dirty="0">
                <a:latin typeface="Century Gothic" panose="020B0502020202020204" pitchFamily="34" charset="0"/>
              </a:rPr>
              <a:t>Какая будет методология разработки?</a:t>
            </a:r>
          </a:p>
          <a:p>
            <a:pPr marL="285750" indent="-285750">
              <a:buFontTx/>
              <a:buChar char="-"/>
            </a:pPr>
            <a:r>
              <a:rPr lang="ru-RU" sz="1600" dirty="0">
                <a:latin typeface="Century Gothic" panose="020B0502020202020204" pitchFamily="34" charset="0"/>
              </a:rPr>
              <a:t>Какие сроки разработки?</a:t>
            </a:r>
          </a:p>
          <a:p>
            <a:pPr marL="285750" indent="-285750">
              <a:buFontTx/>
              <a:buChar char="-"/>
            </a:pPr>
            <a:r>
              <a:rPr lang="ru-RU" sz="1600" dirty="0">
                <a:latin typeface="Century Gothic" panose="020B0502020202020204" pitchFamily="34" charset="0"/>
              </a:rPr>
              <a:t>Какие есть риски?</a:t>
            </a:r>
          </a:p>
        </p:txBody>
      </p:sp>
    </p:spTree>
    <p:extLst>
      <p:ext uri="{BB962C8B-B14F-4D97-AF65-F5344CB8AC3E}">
        <p14:creationId xmlns:p14="http://schemas.microsoft.com/office/powerpoint/2010/main" val="279323222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9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Oval 34"/>
          <p:cNvSpPr/>
          <p:nvPr/>
        </p:nvSpPr>
        <p:spPr>
          <a:xfrm>
            <a:off x="6545650" y="3170235"/>
            <a:ext cx="469976" cy="469976"/>
          </a:xfrm>
          <a:prstGeom prst="ellipse">
            <a:avLst/>
          </a:prstGeom>
          <a:solidFill>
            <a:srgbClr val="FAEB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6" name="Oval 35"/>
          <p:cNvSpPr/>
          <p:nvPr/>
        </p:nvSpPr>
        <p:spPr>
          <a:xfrm>
            <a:off x="6545650" y="4135693"/>
            <a:ext cx="469976" cy="469976"/>
          </a:xfrm>
          <a:prstGeom prst="ellipse">
            <a:avLst/>
          </a:prstGeom>
          <a:solidFill>
            <a:srgbClr val="FAEB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7" name="Oval 36"/>
          <p:cNvSpPr/>
          <p:nvPr/>
        </p:nvSpPr>
        <p:spPr>
          <a:xfrm>
            <a:off x="6545650" y="5092199"/>
            <a:ext cx="469976" cy="469976"/>
          </a:xfrm>
          <a:prstGeom prst="ellipse">
            <a:avLst/>
          </a:prstGeom>
          <a:solidFill>
            <a:srgbClr val="FAEB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8" name="Oval 37"/>
          <p:cNvSpPr/>
          <p:nvPr/>
        </p:nvSpPr>
        <p:spPr>
          <a:xfrm>
            <a:off x="6545650" y="2215169"/>
            <a:ext cx="469976" cy="469976"/>
          </a:xfrm>
          <a:prstGeom prst="ellipse">
            <a:avLst/>
          </a:prstGeom>
          <a:solidFill>
            <a:srgbClr val="FAEB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9" name="Oval 38"/>
          <p:cNvSpPr/>
          <p:nvPr/>
        </p:nvSpPr>
        <p:spPr>
          <a:xfrm>
            <a:off x="6545650" y="1254714"/>
            <a:ext cx="469976" cy="469976"/>
          </a:xfrm>
          <a:prstGeom prst="ellipse">
            <a:avLst/>
          </a:prstGeom>
          <a:solidFill>
            <a:srgbClr val="FAEB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7" name="Oval 26"/>
          <p:cNvSpPr/>
          <p:nvPr/>
        </p:nvSpPr>
        <p:spPr>
          <a:xfrm>
            <a:off x="802249" y="3170235"/>
            <a:ext cx="469976" cy="469976"/>
          </a:xfrm>
          <a:prstGeom prst="ellipse">
            <a:avLst/>
          </a:prstGeom>
          <a:solidFill>
            <a:srgbClr val="FAEB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0" name="Oval 29"/>
          <p:cNvSpPr/>
          <p:nvPr/>
        </p:nvSpPr>
        <p:spPr>
          <a:xfrm>
            <a:off x="802249" y="4135693"/>
            <a:ext cx="469976" cy="469976"/>
          </a:xfrm>
          <a:prstGeom prst="ellipse">
            <a:avLst/>
          </a:prstGeom>
          <a:solidFill>
            <a:srgbClr val="FAEB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1" name="Oval 30"/>
          <p:cNvSpPr/>
          <p:nvPr/>
        </p:nvSpPr>
        <p:spPr>
          <a:xfrm>
            <a:off x="802249" y="5092199"/>
            <a:ext cx="469976" cy="469976"/>
          </a:xfrm>
          <a:prstGeom prst="ellipse">
            <a:avLst/>
          </a:prstGeom>
          <a:solidFill>
            <a:srgbClr val="FAEB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5" name="Oval 24"/>
          <p:cNvSpPr/>
          <p:nvPr/>
        </p:nvSpPr>
        <p:spPr>
          <a:xfrm>
            <a:off x="802249" y="2215169"/>
            <a:ext cx="469976" cy="469976"/>
          </a:xfrm>
          <a:prstGeom prst="ellipse">
            <a:avLst/>
          </a:prstGeom>
          <a:solidFill>
            <a:srgbClr val="FAEB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Oval 1"/>
          <p:cNvSpPr/>
          <p:nvPr/>
        </p:nvSpPr>
        <p:spPr>
          <a:xfrm>
            <a:off x="802249" y="1254714"/>
            <a:ext cx="469976" cy="469976"/>
          </a:xfrm>
          <a:prstGeom prst="ellipse">
            <a:avLst/>
          </a:prstGeom>
          <a:solidFill>
            <a:srgbClr val="FAEB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fld id="{E5521E86-09D5-4946-96C4-F588BCCA310C}" type="slidenum">
              <a:rPr lang="ru-RU" smtClean="0"/>
              <a:pPr>
                <a:defRPr/>
              </a:pPr>
              <a:t>6</a:t>
            </a:fld>
            <a:endParaRPr lang="ru-RU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88BB42C-4E7E-45F1-AB31-00086D65A63E}"/>
              </a:ext>
            </a:extLst>
          </p:cNvPr>
          <p:cNvSpPr txBox="1"/>
          <p:nvPr/>
        </p:nvSpPr>
        <p:spPr>
          <a:xfrm>
            <a:off x="749369" y="443928"/>
            <a:ext cx="4085098" cy="391042"/>
          </a:xfrm>
          <a:prstGeom prst="rect">
            <a:avLst/>
          </a:prstGeom>
          <a:solidFill>
            <a:srgbClr val="FFEB00"/>
          </a:solidFill>
        </p:spPr>
        <p:txBody>
          <a:bodyPr wrap="square" rtlCol="0">
            <a:spAutoFit/>
          </a:bodyPr>
          <a:lstStyle/>
          <a:p>
            <a:endParaRPr lang="en-US" sz="2600" b="1" dirty="0">
              <a:latin typeface="FuturaDemiC" panose="04000700000000000000" pitchFamily="82" charset="-52"/>
            </a:endParaRPr>
          </a:p>
        </p:txBody>
      </p:sp>
      <p:sp>
        <p:nvSpPr>
          <p:cNvPr id="11" name="Title 4"/>
          <p:cNvSpPr>
            <a:spLocks noGrp="1"/>
          </p:cNvSpPr>
          <p:nvPr>
            <p:ph type="title"/>
          </p:nvPr>
        </p:nvSpPr>
        <p:spPr>
          <a:xfrm>
            <a:off x="749369" y="478121"/>
            <a:ext cx="5804598" cy="762188"/>
          </a:xfrm>
        </p:spPr>
        <p:txBody>
          <a:bodyPr>
            <a:normAutofit/>
          </a:bodyPr>
          <a:lstStyle/>
          <a:p>
            <a:r>
              <a:rPr lang="ru-RU" sz="2400" b="1" dirty="0">
                <a:latin typeface="Century Gothic" panose="020B0502020202020204" pitchFamily="34" charset="0"/>
              </a:rPr>
              <a:t>Качество требований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1003376" y="1289647"/>
            <a:ext cx="212513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dirty="0">
                <a:latin typeface="Century Gothic" panose="020B0502020202020204" pitchFamily="34" charset="0"/>
              </a:rPr>
              <a:t>Единичность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1011836" y="2249018"/>
            <a:ext cx="315376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dirty="0">
                <a:latin typeface="Century Gothic" panose="020B0502020202020204" pitchFamily="34" charset="0"/>
              </a:rPr>
              <a:t>Завершенность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1011835" y="3208389"/>
            <a:ext cx="415283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dirty="0">
                <a:latin typeface="Century Gothic" panose="020B0502020202020204" pitchFamily="34" charset="0"/>
              </a:rPr>
              <a:t>Последовательность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1011835" y="4167760"/>
            <a:ext cx="415283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dirty="0">
                <a:latin typeface="Century Gothic" panose="020B0502020202020204" pitchFamily="34" charset="0"/>
              </a:rPr>
              <a:t>Атомарность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003376" y="5127132"/>
            <a:ext cx="415283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dirty="0" err="1">
                <a:latin typeface="Century Gothic" panose="020B0502020202020204" pitchFamily="34" charset="0"/>
              </a:rPr>
              <a:t>Отслеживаемость</a:t>
            </a:r>
            <a:endParaRPr lang="ru-RU" sz="2000" dirty="0">
              <a:latin typeface="Century Gothic" panose="020B0502020202020204" pitchFamily="34" charset="0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6752235" y="2249018"/>
            <a:ext cx="415283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dirty="0">
                <a:latin typeface="Century Gothic" panose="020B0502020202020204" pitchFamily="34" charset="0"/>
              </a:rPr>
              <a:t>Выполнимость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6752235" y="3208389"/>
            <a:ext cx="415283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dirty="0">
                <a:latin typeface="Century Gothic" panose="020B0502020202020204" pitchFamily="34" charset="0"/>
              </a:rPr>
              <a:t>Недвусмысленность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6752235" y="4167760"/>
            <a:ext cx="415283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dirty="0">
                <a:latin typeface="Century Gothic" panose="020B0502020202020204" pitchFamily="34" charset="0"/>
              </a:rPr>
              <a:t>Обязательность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6752235" y="5127132"/>
            <a:ext cx="415283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dirty="0" err="1">
                <a:latin typeface="Century Gothic" panose="020B0502020202020204" pitchFamily="34" charset="0"/>
              </a:rPr>
              <a:t>Проверяемость</a:t>
            </a:r>
            <a:endParaRPr lang="ru-RU" sz="2000" dirty="0">
              <a:latin typeface="Century Gothic" panose="020B0502020202020204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6752234" y="1289647"/>
            <a:ext cx="415283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dirty="0">
                <a:latin typeface="Century Gothic" panose="020B0502020202020204" pitchFamily="34" charset="0"/>
              </a:rPr>
              <a:t>Актуальность</a:t>
            </a:r>
          </a:p>
        </p:txBody>
      </p:sp>
    </p:spTree>
    <p:extLst>
      <p:ext uri="{BB962C8B-B14F-4D97-AF65-F5344CB8AC3E}">
        <p14:creationId xmlns:p14="http://schemas.microsoft.com/office/powerpoint/2010/main" val="234773042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5" grpId="0" animBg="1"/>
      <p:bldP spid="36" grpId="0" animBg="1"/>
      <p:bldP spid="37" grpId="0" animBg="1"/>
      <p:bldP spid="38" grpId="0" animBg="1"/>
      <p:bldP spid="39" grpId="0" animBg="1"/>
      <p:bldP spid="27" grpId="0" animBg="1"/>
      <p:bldP spid="30" grpId="0" animBg="1"/>
      <p:bldP spid="31" grpId="0" animBg="1"/>
      <p:bldP spid="25" grpId="0" animBg="1"/>
      <p:bldP spid="2" grpId="0" animBg="1"/>
      <p:bldP spid="24" grpId="0"/>
      <p:bldP spid="26" grpId="0"/>
      <p:bldP spid="28" grpId="0"/>
      <p:bldP spid="13" grpId="0"/>
      <p:bldP spid="15" grpId="0"/>
      <p:bldP spid="16" grpId="0"/>
      <p:bldP spid="17" grpId="0"/>
      <p:bldP spid="18" grpId="0"/>
      <p:bldP spid="19" grpId="0"/>
      <p:bldP spid="20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7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fld id="{E5521E86-09D5-4946-96C4-F588BCCA310C}" type="slidenum">
              <a:rPr lang="ru-RU" smtClean="0"/>
              <a:pPr>
                <a:defRPr/>
              </a:pPr>
              <a:t>7</a:t>
            </a:fld>
            <a:endParaRPr lang="ru-RU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88BB42C-4E7E-45F1-AB31-00086D65A63E}"/>
              </a:ext>
            </a:extLst>
          </p:cNvPr>
          <p:cNvSpPr txBox="1"/>
          <p:nvPr/>
        </p:nvSpPr>
        <p:spPr>
          <a:xfrm>
            <a:off x="749369" y="443928"/>
            <a:ext cx="8115231" cy="391042"/>
          </a:xfrm>
          <a:prstGeom prst="rect">
            <a:avLst/>
          </a:prstGeom>
          <a:solidFill>
            <a:srgbClr val="FFEB00"/>
          </a:solidFill>
        </p:spPr>
        <p:txBody>
          <a:bodyPr wrap="square" rtlCol="0">
            <a:spAutoFit/>
          </a:bodyPr>
          <a:lstStyle/>
          <a:p>
            <a:endParaRPr lang="en-US" sz="2600" b="1" dirty="0">
              <a:latin typeface="FuturaDemiC" panose="04000700000000000000" pitchFamily="82" charset="-52"/>
            </a:endParaRPr>
          </a:p>
        </p:txBody>
      </p:sp>
      <p:sp>
        <p:nvSpPr>
          <p:cNvPr id="11" name="Title 4"/>
          <p:cNvSpPr>
            <a:spLocks noGrp="1"/>
          </p:cNvSpPr>
          <p:nvPr>
            <p:ph type="title"/>
          </p:nvPr>
        </p:nvSpPr>
        <p:spPr>
          <a:xfrm>
            <a:off x="749369" y="478121"/>
            <a:ext cx="8386164" cy="762188"/>
          </a:xfrm>
        </p:spPr>
        <p:txBody>
          <a:bodyPr>
            <a:normAutofit/>
          </a:bodyPr>
          <a:lstStyle/>
          <a:p>
            <a:r>
              <a:rPr lang="ru-RU" sz="2400" b="1" dirty="0">
                <a:latin typeface="Century Gothic" panose="020B0502020202020204" pitchFamily="34" charset="0"/>
              </a:rPr>
              <a:t>Продолжаем говорить об этапах разработки</a:t>
            </a:r>
          </a:p>
        </p:txBody>
      </p:sp>
      <p:grpSp>
        <p:nvGrpSpPr>
          <p:cNvPr id="3" name="Группа 2">
            <a:extLst>
              <a:ext uri="{FF2B5EF4-FFF2-40B4-BE49-F238E27FC236}">
                <a16:creationId xmlns:a16="http://schemas.microsoft.com/office/drawing/2014/main" id="{9BBAD1AA-BD93-44BA-A8BD-0A4F65FD76DF}"/>
              </a:ext>
            </a:extLst>
          </p:cNvPr>
          <p:cNvGrpSpPr/>
          <p:nvPr/>
        </p:nvGrpSpPr>
        <p:grpSpPr>
          <a:xfrm>
            <a:off x="740909" y="1145483"/>
            <a:ext cx="2387601" cy="1107996"/>
            <a:chOff x="740909" y="1145483"/>
            <a:chExt cx="2387601" cy="1107996"/>
          </a:xfrm>
        </p:grpSpPr>
        <p:sp>
          <p:nvSpPr>
            <p:cNvPr id="32" name="TextBox 31"/>
            <p:cNvSpPr txBox="1"/>
            <p:nvPr/>
          </p:nvSpPr>
          <p:spPr>
            <a:xfrm>
              <a:off x="740909" y="1145483"/>
              <a:ext cx="1138698" cy="110799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6600" b="1" dirty="0">
                  <a:solidFill>
                    <a:srgbClr val="FAEB00"/>
                  </a:solidFill>
                  <a:latin typeface="Century Gothic" panose="020B0502020202020204" pitchFamily="34" charset="0"/>
                </a:rPr>
                <a:t>4</a:t>
              </a:r>
            </a:p>
          </p:txBody>
        </p:sp>
        <p:sp>
          <p:nvSpPr>
            <p:cNvPr id="24" name="TextBox 23"/>
            <p:cNvSpPr txBox="1"/>
            <p:nvPr/>
          </p:nvSpPr>
          <p:spPr>
            <a:xfrm>
              <a:off x="1003376" y="1518247"/>
              <a:ext cx="2125134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2000" dirty="0">
                  <a:latin typeface="Century Gothic" panose="020B0502020202020204" pitchFamily="34" charset="0"/>
                </a:rPr>
                <a:t>Исходный код</a:t>
              </a:r>
            </a:p>
          </p:txBody>
        </p:sp>
      </p:grpSp>
      <p:grpSp>
        <p:nvGrpSpPr>
          <p:cNvPr id="4" name="Группа 3">
            <a:extLst>
              <a:ext uri="{FF2B5EF4-FFF2-40B4-BE49-F238E27FC236}">
                <a16:creationId xmlns:a16="http://schemas.microsoft.com/office/drawing/2014/main" id="{EEC14CC2-8D46-4221-B9C1-4DA79850C601}"/>
              </a:ext>
            </a:extLst>
          </p:cNvPr>
          <p:cNvGrpSpPr/>
          <p:nvPr/>
        </p:nvGrpSpPr>
        <p:grpSpPr>
          <a:xfrm>
            <a:off x="740909" y="2271464"/>
            <a:ext cx="3416231" cy="1107996"/>
            <a:chOff x="740909" y="2271464"/>
            <a:chExt cx="3416231" cy="1107996"/>
          </a:xfrm>
        </p:grpSpPr>
        <p:sp>
          <p:nvSpPr>
            <p:cNvPr id="33" name="TextBox 32"/>
            <p:cNvSpPr txBox="1"/>
            <p:nvPr/>
          </p:nvSpPr>
          <p:spPr>
            <a:xfrm>
              <a:off x="740909" y="2271464"/>
              <a:ext cx="1138698" cy="110799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6600" b="1" dirty="0">
                  <a:solidFill>
                    <a:srgbClr val="FAEB00"/>
                  </a:solidFill>
                  <a:latin typeface="Century Gothic" panose="020B0502020202020204" pitchFamily="34" charset="0"/>
                </a:rPr>
                <a:t>5</a:t>
              </a:r>
            </a:p>
          </p:txBody>
        </p:sp>
        <p:sp>
          <p:nvSpPr>
            <p:cNvPr id="26" name="TextBox 25"/>
            <p:cNvSpPr txBox="1"/>
            <p:nvPr/>
          </p:nvSpPr>
          <p:spPr>
            <a:xfrm>
              <a:off x="1003376" y="2625407"/>
              <a:ext cx="3153764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2000" dirty="0">
                  <a:latin typeface="Century Gothic" panose="020B0502020202020204" pitchFamily="34" charset="0"/>
                </a:rPr>
                <a:t>Архитектура системы</a:t>
              </a:r>
            </a:p>
          </p:txBody>
        </p:sp>
      </p:grpSp>
      <p:grpSp>
        <p:nvGrpSpPr>
          <p:cNvPr id="5" name="Группа 4">
            <a:extLst>
              <a:ext uri="{FF2B5EF4-FFF2-40B4-BE49-F238E27FC236}">
                <a16:creationId xmlns:a16="http://schemas.microsoft.com/office/drawing/2014/main" id="{B2F4A039-4789-4C30-AE86-EABBA8F8FDA4}"/>
              </a:ext>
            </a:extLst>
          </p:cNvPr>
          <p:cNvGrpSpPr/>
          <p:nvPr/>
        </p:nvGrpSpPr>
        <p:grpSpPr>
          <a:xfrm>
            <a:off x="740909" y="3386667"/>
            <a:ext cx="4415297" cy="1107996"/>
            <a:chOff x="740909" y="3386667"/>
            <a:chExt cx="4415297" cy="1107996"/>
          </a:xfrm>
        </p:grpSpPr>
        <p:sp>
          <p:nvSpPr>
            <p:cNvPr id="34" name="TextBox 33"/>
            <p:cNvSpPr txBox="1"/>
            <p:nvPr/>
          </p:nvSpPr>
          <p:spPr>
            <a:xfrm>
              <a:off x="740909" y="3386667"/>
              <a:ext cx="1138698" cy="110799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6600" b="1" dirty="0">
                  <a:solidFill>
                    <a:srgbClr val="FAEB00"/>
                  </a:solidFill>
                  <a:latin typeface="Century Gothic" panose="020B0502020202020204" pitchFamily="34" charset="0"/>
                </a:rPr>
                <a:t>6</a:t>
              </a:r>
            </a:p>
          </p:txBody>
        </p:sp>
        <p:sp>
          <p:nvSpPr>
            <p:cNvPr id="28" name="TextBox 27"/>
            <p:cNvSpPr txBox="1"/>
            <p:nvPr/>
          </p:nvSpPr>
          <p:spPr>
            <a:xfrm>
              <a:off x="1003375" y="3741661"/>
              <a:ext cx="4152831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2000" dirty="0">
                  <a:latin typeface="Century Gothic" panose="020B0502020202020204" pitchFamily="34" charset="0"/>
                </a:rPr>
                <a:t>Тестирование</a:t>
              </a:r>
            </a:p>
          </p:txBody>
        </p:sp>
      </p:grpSp>
      <p:sp>
        <p:nvSpPr>
          <p:cNvPr id="12" name="TextBox 11"/>
          <p:cNvSpPr txBox="1"/>
          <p:nvPr/>
        </p:nvSpPr>
        <p:spPr>
          <a:xfrm>
            <a:off x="1282768" y="4326760"/>
            <a:ext cx="6845231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Tx/>
              <a:buChar char="-"/>
            </a:pPr>
            <a:r>
              <a:rPr lang="ru-RU" sz="1600" dirty="0">
                <a:latin typeface="Century Gothic" panose="020B0502020202020204" pitchFamily="34" charset="0"/>
              </a:rPr>
              <a:t>Тест план</a:t>
            </a:r>
          </a:p>
          <a:p>
            <a:pPr marL="285750" indent="-285750">
              <a:buFontTx/>
              <a:buChar char="-"/>
            </a:pPr>
            <a:r>
              <a:rPr lang="ru-RU" sz="1600" dirty="0">
                <a:latin typeface="Century Gothic" panose="020B0502020202020204" pitchFamily="34" charset="0"/>
              </a:rPr>
              <a:t>Тест кейс</a:t>
            </a:r>
          </a:p>
          <a:p>
            <a:pPr marL="285750" indent="-285750">
              <a:buFontTx/>
              <a:buChar char="-"/>
            </a:pPr>
            <a:r>
              <a:rPr lang="ru-RU" sz="1600" dirty="0">
                <a:latin typeface="Century Gothic" panose="020B0502020202020204" pitchFamily="34" charset="0"/>
              </a:rPr>
              <a:t>Отчет о тестировании</a:t>
            </a:r>
            <a:endParaRPr lang="en-US" sz="1600" dirty="0">
              <a:latin typeface="Century Gothic" panose="020B0502020202020204" pitchFamily="34" charset="0"/>
            </a:endParaRPr>
          </a:p>
          <a:p>
            <a:pPr marL="285750" indent="-285750">
              <a:buFontTx/>
              <a:buChar char="-"/>
            </a:pPr>
            <a:endParaRPr lang="ru-RU" sz="1600" dirty="0">
              <a:latin typeface="Century Gothic" panose="020B0502020202020204" pitchFamily="34" charset="0"/>
            </a:endParaRPr>
          </a:p>
        </p:txBody>
      </p:sp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35407454"/>
              </p:ext>
            </p:extLst>
          </p:nvPr>
        </p:nvGraphicFramePr>
        <p:xfrm>
          <a:off x="6485468" y="2392557"/>
          <a:ext cx="4758264" cy="7416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86088">
                  <a:extLst>
                    <a:ext uri="{9D8B030D-6E8A-4147-A177-3AD203B41FA5}">
                      <a16:colId xmlns:a16="http://schemas.microsoft.com/office/drawing/2014/main" val="3652439561"/>
                    </a:ext>
                  </a:extLst>
                </a:gridCol>
                <a:gridCol w="1586088">
                  <a:extLst>
                    <a:ext uri="{9D8B030D-6E8A-4147-A177-3AD203B41FA5}">
                      <a16:colId xmlns:a16="http://schemas.microsoft.com/office/drawing/2014/main" val="2222936519"/>
                    </a:ext>
                  </a:extLst>
                </a:gridCol>
                <a:gridCol w="1586088">
                  <a:extLst>
                    <a:ext uri="{9D8B030D-6E8A-4147-A177-3AD203B41FA5}">
                      <a16:colId xmlns:a16="http://schemas.microsoft.com/office/drawing/2014/main" val="152178475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400" b="0" dirty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rPr>
                        <a:t>Action</a:t>
                      </a:r>
                      <a:endParaRPr lang="ru-RU" sz="1400" b="0" dirty="0">
                        <a:solidFill>
                          <a:schemeClr val="tx1"/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dirty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rPr>
                        <a:t>Expected result</a:t>
                      </a:r>
                      <a:endParaRPr lang="ru-RU" sz="1400" b="0" dirty="0">
                        <a:solidFill>
                          <a:schemeClr val="tx1"/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dirty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rPr>
                        <a:t>Test result</a:t>
                      </a:r>
                      <a:endParaRPr lang="ru-RU" sz="1400" b="0" dirty="0">
                        <a:solidFill>
                          <a:schemeClr val="tx1"/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4213704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ru-RU" b="0" dirty="0">
                        <a:solidFill>
                          <a:schemeClr val="tx1"/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b="0" dirty="0">
                        <a:solidFill>
                          <a:schemeClr val="tx1"/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b="0" dirty="0">
                        <a:solidFill>
                          <a:schemeClr val="tx1"/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40787847"/>
                  </a:ext>
                </a:extLst>
              </a:tr>
            </a:tbl>
          </a:graphicData>
        </a:graphic>
      </p:graphicFrame>
      <p:sp>
        <p:nvSpPr>
          <p:cNvPr id="14" name="TextBox 13"/>
          <p:cNvSpPr txBox="1"/>
          <p:nvPr/>
        </p:nvSpPr>
        <p:spPr>
          <a:xfrm>
            <a:off x="6485468" y="3386667"/>
            <a:ext cx="3975032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>
                <a:latin typeface="Century Gothic" panose="020B0502020202020204" pitchFamily="34" charset="0"/>
              </a:rPr>
              <a:t>Структура теста:</a:t>
            </a:r>
          </a:p>
          <a:p>
            <a:endParaRPr lang="ru-RU" sz="1600" dirty="0">
              <a:latin typeface="Century Gothic" panose="020B0502020202020204" pitchFamily="34" charset="0"/>
            </a:endParaRPr>
          </a:p>
          <a:p>
            <a:pPr marL="285750" indent="-285750">
              <a:buFontTx/>
              <a:buChar char="-"/>
            </a:pPr>
            <a:r>
              <a:rPr lang="en-US" sz="1600" dirty="0" err="1">
                <a:latin typeface="Century Gothic" panose="020B0502020202020204" pitchFamily="34" charset="0"/>
              </a:rPr>
              <a:t>PreCondition</a:t>
            </a:r>
            <a:endParaRPr lang="ru-RU" sz="1600" dirty="0">
              <a:latin typeface="Century Gothic" panose="020B0502020202020204" pitchFamily="34" charset="0"/>
            </a:endParaRPr>
          </a:p>
          <a:p>
            <a:pPr marL="285750" indent="-285750">
              <a:buFontTx/>
              <a:buChar char="-"/>
            </a:pPr>
            <a:r>
              <a:rPr lang="en-US" sz="1600" dirty="0">
                <a:latin typeface="Century Gothic" panose="020B0502020202020204" pitchFamily="34" charset="0"/>
              </a:rPr>
              <a:t>Description</a:t>
            </a:r>
            <a:endParaRPr lang="ru-RU" sz="1600" dirty="0">
              <a:latin typeface="Century Gothic" panose="020B0502020202020204" pitchFamily="34" charset="0"/>
            </a:endParaRPr>
          </a:p>
          <a:p>
            <a:pPr marL="285750" indent="-285750">
              <a:buFontTx/>
              <a:buChar char="-"/>
            </a:pPr>
            <a:r>
              <a:rPr lang="en-US" sz="1600" dirty="0" err="1">
                <a:latin typeface="Century Gothic" panose="020B0502020202020204" pitchFamily="34" charset="0"/>
              </a:rPr>
              <a:t>PostCondition</a:t>
            </a:r>
            <a:endParaRPr lang="en-US" sz="1600" dirty="0">
              <a:latin typeface="Century Gothic" panose="020B0502020202020204" pitchFamily="34" charset="0"/>
            </a:endParaRPr>
          </a:p>
          <a:p>
            <a:pPr marL="285750" indent="-285750">
              <a:buFontTx/>
              <a:buChar char="-"/>
            </a:pPr>
            <a:endParaRPr lang="ru-RU" sz="1600" dirty="0">
              <a:latin typeface="Century Gothic" panose="020B0502020202020204" pitchFamily="34" charset="0"/>
            </a:endParaRPr>
          </a:p>
        </p:txBody>
      </p:sp>
      <p:sp>
        <p:nvSpPr>
          <p:cNvPr id="7" name="Freeform 6"/>
          <p:cNvSpPr/>
          <p:nvPr/>
        </p:nvSpPr>
        <p:spPr>
          <a:xfrm>
            <a:off x="2711450" y="2667000"/>
            <a:ext cx="3632200" cy="2076450"/>
          </a:xfrm>
          <a:custGeom>
            <a:avLst/>
            <a:gdLst>
              <a:gd name="connsiteX0" fmla="*/ 0 w 3473450"/>
              <a:gd name="connsiteY0" fmla="*/ 2070100 h 2070100"/>
              <a:gd name="connsiteX1" fmla="*/ 1130300 w 3473450"/>
              <a:gd name="connsiteY1" fmla="*/ 1993900 h 2070100"/>
              <a:gd name="connsiteX2" fmla="*/ 1543050 w 3473450"/>
              <a:gd name="connsiteY2" fmla="*/ 1714500 h 2070100"/>
              <a:gd name="connsiteX3" fmla="*/ 1816100 w 3473450"/>
              <a:gd name="connsiteY3" fmla="*/ 1047750 h 2070100"/>
              <a:gd name="connsiteX4" fmla="*/ 2006600 w 3473450"/>
              <a:gd name="connsiteY4" fmla="*/ 508000 h 2070100"/>
              <a:gd name="connsiteX5" fmla="*/ 2343150 w 3473450"/>
              <a:gd name="connsiteY5" fmla="*/ 184150 h 2070100"/>
              <a:gd name="connsiteX6" fmla="*/ 2984500 w 3473450"/>
              <a:gd name="connsiteY6" fmla="*/ 38100 h 2070100"/>
              <a:gd name="connsiteX7" fmla="*/ 3473450 w 3473450"/>
              <a:gd name="connsiteY7" fmla="*/ 0 h 2070100"/>
              <a:gd name="connsiteX0" fmla="*/ 0 w 3473450"/>
              <a:gd name="connsiteY0" fmla="*/ 2070100 h 2070100"/>
              <a:gd name="connsiteX1" fmla="*/ 1041400 w 3473450"/>
              <a:gd name="connsiteY1" fmla="*/ 1993900 h 2070100"/>
              <a:gd name="connsiteX2" fmla="*/ 1543050 w 3473450"/>
              <a:gd name="connsiteY2" fmla="*/ 1714500 h 2070100"/>
              <a:gd name="connsiteX3" fmla="*/ 1816100 w 3473450"/>
              <a:gd name="connsiteY3" fmla="*/ 1047750 h 2070100"/>
              <a:gd name="connsiteX4" fmla="*/ 2006600 w 3473450"/>
              <a:gd name="connsiteY4" fmla="*/ 508000 h 2070100"/>
              <a:gd name="connsiteX5" fmla="*/ 2343150 w 3473450"/>
              <a:gd name="connsiteY5" fmla="*/ 184150 h 2070100"/>
              <a:gd name="connsiteX6" fmla="*/ 2984500 w 3473450"/>
              <a:gd name="connsiteY6" fmla="*/ 38100 h 2070100"/>
              <a:gd name="connsiteX7" fmla="*/ 3473450 w 3473450"/>
              <a:gd name="connsiteY7" fmla="*/ 0 h 2070100"/>
              <a:gd name="connsiteX0" fmla="*/ 0 w 3473450"/>
              <a:gd name="connsiteY0" fmla="*/ 2070100 h 2070100"/>
              <a:gd name="connsiteX1" fmla="*/ 1041400 w 3473450"/>
              <a:gd name="connsiteY1" fmla="*/ 1993900 h 2070100"/>
              <a:gd name="connsiteX2" fmla="*/ 1612900 w 3473450"/>
              <a:gd name="connsiteY2" fmla="*/ 1657350 h 2070100"/>
              <a:gd name="connsiteX3" fmla="*/ 1816100 w 3473450"/>
              <a:gd name="connsiteY3" fmla="*/ 1047750 h 2070100"/>
              <a:gd name="connsiteX4" fmla="*/ 2006600 w 3473450"/>
              <a:gd name="connsiteY4" fmla="*/ 508000 h 2070100"/>
              <a:gd name="connsiteX5" fmla="*/ 2343150 w 3473450"/>
              <a:gd name="connsiteY5" fmla="*/ 184150 h 2070100"/>
              <a:gd name="connsiteX6" fmla="*/ 2984500 w 3473450"/>
              <a:gd name="connsiteY6" fmla="*/ 38100 h 2070100"/>
              <a:gd name="connsiteX7" fmla="*/ 3473450 w 3473450"/>
              <a:gd name="connsiteY7" fmla="*/ 0 h 2070100"/>
              <a:gd name="connsiteX0" fmla="*/ 0 w 3473450"/>
              <a:gd name="connsiteY0" fmla="*/ 2070100 h 2070100"/>
              <a:gd name="connsiteX1" fmla="*/ 1041400 w 3473450"/>
              <a:gd name="connsiteY1" fmla="*/ 1993900 h 2070100"/>
              <a:gd name="connsiteX2" fmla="*/ 1612900 w 3473450"/>
              <a:gd name="connsiteY2" fmla="*/ 1657350 h 2070100"/>
              <a:gd name="connsiteX3" fmla="*/ 1847850 w 3473450"/>
              <a:gd name="connsiteY3" fmla="*/ 996950 h 2070100"/>
              <a:gd name="connsiteX4" fmla="*/ 2006600 w 3473450"/>
              <a:gd name="connsiteY4" fmla="*/ 508000 h 2070100"/>
              <a:gd name="connsiteX5" fmla="*/ 2343150 w 3473450"/>
              <a:gd name="connsiteY5" fmla="*/ 184150 h 2070100"/>
              <a:gd name="connsiteX6" fmla="*/ 2984500 w 3473450"/>
              <a:gd name="connsiteY6" fmla="*/ 38100 h 2070100"/>
              <a:gd name="connsiteX7" fmla="*/ 3473450 w 3473450"/>
              <a:gd name="connsiteY7" fmla="*/ 0 h 2070100"/>
              <a:gd name="connsiteX0" fmla="*/ 0 w 3473450"/>
              <a:gd name="connsiteY0" fmla="*/ 2070100 h 2070100"/>
              <a:gd name="connsiteX1" fmla="*/ 1041400 w 3473450"/>
              <a:gd name="connsiteY1" fmla="*/ 1993900 h 2070100"/>
              <a:gd name="connsiteX2" fmla="*/ 1612900 w 3473450"/>
              <a:gd name="connsiteY2" fmla="*/ 1657350 h 2070100"/>
              <a:gd name="connsiteX3" fmla="*/ 1847850 w 3473450"/>
              <a:gd name="connsiteY3" fmla="*/ 996950 h 2070100"/>
              <a:gd name="connsiteX4" fmla="*/ 2006600 w 3473450"/>
              <a:gd name="connsiteY4" fmla="*/ 508000 h 2070100"/>
              <a:gd name="connsiteX5" fmla="*/ 2413000 w 3473450"/>
              <a:gd name="connsiteY5" fmla="*/ 139700 h 2070100"/>
              <a:gd name="connsiteX6" fmla="*/ 2984500 w 3473450"/>
              <a:gd name="connsiteY6" fmla="*/ 38100 h 2070100"/>
              <a:gd name="connsiteX7" fmla="*/ 3473450 w 3473450"/>
              <a:gd name="connsiteY7" fmla="*/ 0 h 2070100"/>
              <a:gd name="connsiteX0" fmla="*/ 0 w 3473450"/>
              <a:gd name="connsiteY0" fmla="*/ 2070100 h 2070100"/>
              <a:gd name="connsiteX1" fmla="*/ 1041400 w 3473450"/>
              <a:gd name="connsiteY1" fmla="*/ 1993900 h 2070100"/>
              <a:gd name="connsiteX2" fmla="*/ 1612900 w 3473450"/>
              <a:gd name="connsiteY2" fmla="*/ 1657350 h 2070100"/>
              <a:gd name="connsiteX3" fmla="*/ 1847850 w 3473450"/>
              <a:gd name="connsiteY3" fmla="*/ 996950 h 2070100"/>
              <a:gd name="connsiteX4" fmla="*/ 2038350 w 3473450"/>
              <a:gd name="connsiteY4" fmla="*/ 450850 h 2070100"/>
              <a:gd name="connsiteX5" fmla="*/ 2413000 w 3473450"/>
              <a:gd name="connsiteY5" fmla="*/ 139700 h 2070100"/>
              <a:gd name="connsiteX6" fmla="*/ 2984500 w 3473450"/>
              <a:gd name="connsiteY6" fmla="*/ 38100 h 2070100"/>
              <a:gd name="connsiteX7" fmla="*/ 3473450 w 3473450"/>
              <a:gd name="connsiteY7" fmla="*/ 0 h 2070100"/>
              <a:gd name="connsiteX0" fmla="*/ 0 w 3473450"/>
              <a:gd name="connsiteY0" fmla="*/ 2070100 h 2070100"/>
              <a:gd name="connsiteX1" fmla="*/ 1041400 w 3473450"/>
              <a:gd name="connsiteY1" fmla="*/ 1993900 h 2070100"/>
              <a:gd name="connsiteX2" fmla="*/ 1612900 w 3473450"/>
              <a:gd name="connsiteY2" fmla="*/ 1657350 h 2070100"/>
              <a:gd name="connsiteX3" fmla="*/ 1847850 w 3473450"/>
              <a:gd name="connsiteY3" fmla="*/ 996950 h 2070100"/>
              <a:gd name="connsiteX4" fmla="*/ 2038350 w 3473450"/>
              <a:gd name="connsiteY4" fmla="*/ 450850 h 2070100"/>
              <a:gd name="connsiteX5" fmla="*/ 2413000 w 3473450"/>
              <a:gd name="connsiteY5" fmla="*/ 139700 h 2070100"/>
              <a:gd name="connsiteX6" fmla="*/ 3003550 w 3473450"/>
              <a:gd name="connsiteY6" fmla="*/ 25400 h 2070100"/>
              <a:gd name="connsiteX7" fmla="*/ 3473450 w 3473450"/>
              <a:gd name="connsiteY7" fmla="*/ 0 h 2070100"/>
              <a:gd name="connsiteX0" fmla="*/ 0 w 3517900"/>
              <a:gd name="connsiteY0" fmla="*/ 2089150 h 2089150"/>
              <a:gd name="connsiteX1" fmla="*/ 1041400 w 3517900"/>
              <a:gd name="connsiteY1" fmla="*/ 2012950 h 2089150"/>
              <a:gd name="connsiteX2" fmla="*/ 1612900 w 3517900"/>
              <a:gd name="connsiteY2" fmla="*/ 1676400 h 2089150"/>
              <a:gd name="connsiteX3" fmla="*/ 1847850 w 3517900"/>
              <a:gd name="connsiteY3" fmla="*/ 1016000 h 2089150"/>
              <a:gd name="connsiteX4" fmla="*/ 2038350 w 3517900"/>
              <a:gd name="connsiteY4" fmla="*/ 469900 h 2089150"/>
              <a:gd name="connsiteX5" fmla="*/ 2413000 w 3517900"/>
              <a:gd name="connsiteY5" fmla="*/ 158750 h 2089150"/>
              <a:gd name="connsiteX6" fmla="*/ 3003550 w 3517900"/>
              <a:gd name="connsiteY6" fmla="*/ 44450 h 2089150"/>
              <a:gd name="connsiteX7" fmla="*/ 3517900 w 3517900"/>
              <a:gd name="connsiteY7" fmla="*/ 0 h 2089150"/>
              <a:gd name="connsiteX0" fmla="*/ 0 w 3517900"/>
              <a:gd name="connsiteY0" fmla="*/ 2089150 h 2089150"/>
              <a:gd name="connsiteX1" fmla="*/ 1041400 w 3517900"/>
              <a:gd name="connsiteY1" fmla="*/ 2012950 h 2089150"/>
              <a:gd name="connsiteX2" fmla="*/ 1612900 w 3517900"/>
              <a:gd name="connsiteY2" fmla="*/ 1676400 h 2089150"/>
              <a:gd name="connsiteX3" fmla="*/ 1847850 w 3517900"/>
              <a:gd name="connsiteY3" fmla="*/ 1016000 h 2089150"/>
              <a:gd name="connsiteX4" fmla="*/ 2038350 w 3517900"/>
              <a:gd name="connsiteY4" fmla="*/ 469900 h 2089150"/>
              <a:gd name="connsiteX5" fmla="*/ 2413000 w 3517900"/>
              <a:gd name="connsiteY5" fmla="*/ 158750 h 2089150"/>
              <a:gd name="connsiteX6" fmla="*/ 3003550 w 3517900"/>
              <a:gd name="connsiteY6" fmla="*/ 44450 h 2089150"/>
              <a:gd name="connsiteX7" fmla="*/ 3517900 w 3517900"/>
              <a:gd name="connsiteY7" fmla="*/ 0 h 2089150"/>
              <a:gd name="connsiteX0" fmla="*/ 0 w 3517900"/>
              <a:gd name="connsiteY0" fmla="*/ 2089150 h 2089150"/>
              <a:gd name="connsiteX1" fmla="*/ 1041400 w 3517900"/>
              <a:gd name="connsiteY1" fmla="*/ 2012950 h 2089150"/>
              <a:gd name="connsiteX2" fmla="*/ 1612900 w 3517900"/>
              <a:gd name="connsiteY2" fmla="*/ 1676400 h 2089150"/>
              <a:gd name="connsiteX3" fmla="*/ 1847850 w 3517900"/>
              <a:gd name="connsiteY3" fmla="*/ 1016000 h 2089150"/>
              <a:gd name="connsiteX4" fmla="*/ 2038350 w 3517900"/>
              <a:gd name="connsiteY4" fmla="*/ 469900 h 2089150"/>
              <a:gd name="connsiteX5" fmla="*/ 2413000 w 3517900"/>
              <a:gd name="connsiteY5" fmla="*/ 158750 h 2089150"/>
              <a:gd name="connsiteX6" fmla="*/ 3003550 w 3517900"/>
              <a:gd name="connsiteY6" fmla="*/ 44450 h 2089150"/>
              <a:gd name="connsiteX7" fmla="*/ 3517900 w 3517900"/>
              <a:gd name="connsiteY7" fmla="*/ 0 h 2089150"/>
              <a:gd name="connsiteX0" fmla="*/ 0 w 3517900"/>
              <a:gd name="connsiteY0" fmla="*/ 2089150 h 2089150"/>
              <a:gd name="connsiteX1" fmla="*/ 1041400 w 3517900"/>
              <a:gd name="connsiteY1" fmla="*/ 2012950 h 2089150"/>
              <a:gd name="connsiteX2" fmla="*/ 1612900 w 3517900"/>
              <a:gd name="connsiteY2" fmla="*/ 1676400 h 2089150"/>
              <a:gd name="connsiteX3" fmla="*/ 1847850 w 3517900"/>
              <a:gd name="connsiteY3" fmla="*/ 1016000 h 2089150"/>
              <a:gd name="connsiteX4" fmla="*/ 2038350 w 3517900"/>
              <a:gd name="connsiteY4" fmla="*/ 469900 h 2089150"/>
              <a:gd name="connsiteX5" fmla="*/ 2413000 w 3517900"/>
              <a:gd name="connsiteY5" fmla="*/ 158750 h 2089150"/>
              <a:gd name="connsiteX6" fmla="*/ 3003550 w 3517900"/>
              <a:gd name="connsiteY6" fmla="*/ 44450 h 2089150"/>
              <a:gd name="connsiteX7" fmla="*/ 3517900 w 3517900"/>
              <a:gd name="connsiteY7" fmla="*/ 0 h 2089150"/>
              <a:gd name="connsiteX0" fmla="*/ 0 w 3632200"/>
              <a:gd name="connsiteY0" fmla="*/ 2076450 h 2076450"/>
              <a:gd name="connsiteX1" fmla="*/ 1041400 w 3632200"/>
              <a:gd name="connsiteY1" fmla="*/ 2000250 h 2076450"/>
              <a:gd name="connsiteX2" fmla="*/ 1612900 w 3632200"/>
              <a:gd name="connsiteY2" fmla="*/ 1663700 h 2076450"/>
              <a:gd name="connsiteX3" fmla="*/ 1847850 w 3632200"/>
              <a:gd name="connsiteY3" fmla="*/ 1003300 h 2076450"/>
              <a:gd name="connsiteX4" fmla="*/ 2038350 w 3632200"/>
              <a:gd name="connsiteY4" fmla="*/ 457200 h 2076450"/>
              <a:gd name="connsiteX5" fmla="*/ 2413000 w 3632200"/>
              <a:gd name="connsiteY5" fmla="*/ 146050 h 2076450"/>
              <a:gd name="connsiteX6" fmla="*/ 3003550 w 3632200"/>
              <a:gd name="connsiteY6" fmla="*/ 31750 h 2076450"/>
              <a:gd name="connsiteX7" fmla="*/ 3632200 w 3632200"/>
              <a:gd name="connsiteY7" fmla="*/ 0 h 2076450"/>
              <a:gd name="connsiteX0" fmla="*/ 0 w 3632200"/>
              <a:gd name="connsiteY0" fmla="*/ 2076450 h 2076450"/>
              <a:gd name="connsiteX1" fmla="*/ 1041400 w 3632200"/>
              <a:gd name="connsiteY1" fmla="*/ 2000250 h 2076450"/>
              <a:gd name="connsiteX2" fmla="*/ 1612900 w 3632200"/>
              <a:gd name="connsiteY2" fmla="*/ 1663700 h 2076450"/>
              <a:gd name="connsiteX3" fmla="*/ 1847850 w 3632200"/>
              <a:gd name="connsiteY3" fmla="*/ 1003300 h 2076450"/>
              <a:gd name="connsiteX4" fmla="*/ 2038350 w 3632200"/>
              <a:gd name="connsiteY4" fmla="*/ 457200 h 2076450"/>
              <a:gd name="connsiteX5" fmla="*/ 2413000 w 3632200"/>
              <a:gd name="connsiteY5" fmla="*/ 146050 h 2076450"/>
              <a:gd name="connsiteX6" fmla="*/ 3003550 w 3632200"/>
              <a:gd name="connsiteY6" fmla="*/ 31750 h 2076450"/>
              <a:gd name="connsiteX7" fmla="*/ 3632200 w 3632200"/>
              <a:gd name="connsiteY7" fmla="*/ 0 h 2076450"/>
              <a:gd name="connsiteX0" fmla="*/ 0 w 3632200"/>
              <a:gd name="connsiteY0" fmla="*/ 2076450 h 2076450"/>
              <a:gd name="connsiteX1" fmla="*/ 1041400 w 3632200"/>
              <a:gd name="connsiteY1" fmla="*/ 2000250 h 2076450"/>
              <a:gd name="connsiteX2" fmla="*/ 1612900 w 3632200"/>
              <a:gd name="connsiteY2" fmla="*/ 1663700 h 2076450"/>
              <a:gd name="connsiteX3" fmla="*/ 1847850 w 3632200"/>
              <a:gd name="connsiteY3" fmla="*/ 1003300 h 2076450"/>
              <a:gd name="connsiteX4" fmla="*/ 2038350 w 3632200"/>
              <a:gd name="connsiteY4" fmla="*/ 457200 h 2076450"/>
              <a:gd name="connsiteX5" fmla="*/ 2413000 w 3632200"/>
              <a:gd name="connsiteY5" fmla="*/ 146050 h 2076450"/>
              <a:gd name="connsiteX6" fmla="*/ 3003550 w 3632200"/>
              <a:gd name="connsiteY6" fmla="*/ 31750 h 2076450"/>
              <a:gd name="connsiteX7" fmla="*/ 3632200 w 3632200"/>
              <a:gd name="connsiteY7" fmla="*/ 0 h 20764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632200" h="2076450">
                <a:moveTo>
                  <a:pt x="0" y="2076450"/>
                </a:moveTo>
                <a:cubicBezTo>
                  <a:pt x="436562" y="2067983"/>
                  <a:pt x="772583" y="2069042"/>
                  <a:pt x="1041400" y="2000250"/>
                </a:cubicBezTo>
                <a:cubicBezTo>
                  <a:pt x="1310217" y="1931458"/>
                  <a:pt x="1478492" y="1829858"/>
                  <a:pt x="1612900" y="1663700"/>
                </a:cubicBezTo>
                <a:cubicBezTo>
                  <a:pt x="1747308" y="1497542"/>
                  <a:pt x="1783292" y="1331383"/>
                  <a:pt x="1847850" y="1003300"/>
                </a:cubicBezTo>
                <a:cubicBezTo>
                  <a:pt x="1912408" y="675217"/>
                  <a:pt x="1944158" y="600075"/>
                  <a:pt x="2038350" y="457200"/>
                </a:cubicBezTo>
                <a:cubicBezTo>
                  <a:pt x="2132542" y="314325"/>
                  <a:pt x="2252133" y="216958"/>
                  <a:pt x="2413000" y="146050"/>
                </a:cubicBezTo>
                <a:cubicBezTo>
                  <a:pt x="2573867" y="75142"/>
                  <a:pt x="2800350" y="56092"/>
                  <a:pt x="3003550" y="31750"/>
                </a:cubicBezTo>
                <a:cubicBezTo>
                  <a:pt x="3206750" y="7408"/>
                  <a:pt x="3481916" y="3704"/>
                  <a:pt x="3632200" y="0"/>
                </a:cubicBezTo>
              </a:path>
            </a:pathLst>
          </a:custGeom>
          <a:noFill/>
          <a:ln w="19050">
            <a:solidFill>
              <a:srgbClr val="FAEB00"/>
            </a:solidFill>
            <a:prstDash val="sysDot"/>
            <a:headEnd type="oval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6" name="Группа 5">
            <a:extLst>
              <a:ext uri="{FF2B5EF4-FFF2-40B4-BE49-F238E27FC236}">
                <a16:creationId xmlns:a16="http://schemas.microsoft.com/office/drawing/2014/main" id="{379EE7A2-EF28-4639-924F-B1C11DC090E3}"/>
              </a:ext>
            </a:extLst>
          </p:cNvPr>
          <p:cNvGrpSpPr/>
          <p:nvPr/>
        </p:nvGrpSpPr>
        <p:grpSpPr>
          <a:xfrm>
            <a:off x="740909" y="5163099"/>
            <a:ext cx="2387601" cy="1107996"/>
            <a:chOff x="740909" y="5163099"/>
            <a:chExt cx="2387601" cy="1107996"/>
          </a:xfrm>
        </p:grpSpPr>
        <p:sp>
          <p:nvSpPr>
            <p:cNvPr id="20" name="TextBox 19"/>
            <p:cNvSpPr txBox="1"/>
            <p:nvPr/>
          </p:nvSpPr>
          <p:spPr>
            <a:xfrm>
              <a:off x="740909" y="5163099"/>
              <a:ext cx="1138698" cy="110799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6600" b="1" dirty="0">
                  <a:solidFill>
                    <a:srgbClr val="FAEB00"/>
                  </a:solidFill>
                  <a:latin typeface="Century Gothic" panose="020B0502020202020204" pitchFamily="34" charset="0"/>
                </a:rPr>
                <a:t>7</a:t>
              </a:r>
              <a:endParaRPr lang="ru-RU" sz="6600" b="1" dirty="0">
                <a:solidFill>
                  <a:srgbClr val="FAEB00"/>
                </a:solidFill>
                <a:latin typeface="Century Gothic" panose="020B0502020202020204" pitchFamily="34" charset="0"/>
              </a:endParaRPr>
            </a:p>
          </p:txBody>
        </p:sp>
        <p:sp>
          <p:nvSpPr>
            <p:cNvPr id="21" name="TextBox 20"/>
            <p:cNvSpPr txBox="1"/>
            <p:nvPr/>
          </p:nvSpPr>
          <p:spPr>
            <a:xfrm>
              <a:off x="1003376" y="5535863"/>
              <a:ext cx="2125134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000" dirty="0">
                  <a:latin typeface="Century Gothic" panose="020B0502020202020204" pitchFamily="34" charset="0"/>
                </a:rPr>
                <a:t>UAT</a:t>
              </a:r>
              <a:endParaRPr lang="ru-RU" sz="2000" dirty="0">
                <a:latin typeface="Century Gothic" panose="020B0502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949609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/>
      <p:bldP spid="14" grpId="0"/>
      <p:bldP spid="7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910574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5" imgW="416" imgH="416" progId="TCLayout.ActiveDocument.1">
                  <p:embed/>
                </p:oleObj>
              </mc:Choice>
              <mc:Fallback>
                <p:oleObj name="think-cell Slide" r:id="rId5" imgW="416" imgH="41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4400" b="1" dirty="0">
              <a:latin typeface="Century Gothic" panose="020B0502020202020204" pitchFamily="34" charset="0"/>
              <a:cs typeface="Arial" panose="020B0604020202020204" pitchFamily="34" charset="0"/>
              <a:sym typeface="Century Gothic" panose="020B0502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9880" y="1144588"/>
            <a:ext cx="10142960" cy="609398"/>
          </a:xfrm>
        </p:spPr>
        <p:txBody>
          <a:bodyPr/>
          <a:lstStyle/>
          <a:p>
            <a:r>
              <a:rPr lang="ru-RU" sz="4400" b="1" dirty="0">
                <a:latin typeface="Century Gothic" panose="020B0502020202020204" pitchFamily="34" charset="0"/>
              </a:rPr>
              <a:t>Введение </a:t>
            </a:r>
            <a:r>
              <a:rPr lang="ru-RU" sz="4400" b="1" dirty="0" smtClean="0">
                <a:latin typeface="Century Gothic" panose="020B0502020202020204" pitchFamily="34" charset="0"/>
              </a:rPr>
              <a:t>в </a:t>
            </a:r>
            <a:r>
              <a:rPr lang="ru-RU" sz="4400" b="1" dirty="0">
                <a:latin typeface="Century Gothic" panose="020B0502020202020204" pitchFamily="34" charset="0"/>
              </a:rPr>
              <a:t>теорию </a:t>
            </a:r>
            <a:r>
              <a:rPr lang="ru-RU" sz="4400" b="1" dirty="0" smtClean="0">
                <a:latin typeface="Century Gothic" panose="020B0502020202020204" pitchFamily="34" charset="0"/>
              </a:rPr>
              <a:t>тестирования</a:t>
            </a:r>
            <a:endParaRPr lang="ru-RU" sz="4400" b="1" dirty="0"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535314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7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fld id="{E5521E86-09D5-4946-96C4-F588BCCA310C}" type="slidenum">
              <a:rPr lang="ru-RU" smtClean="0"/>
              <a:pPr>
                <a:defRPr/>
              </a:pPr>
              <a:t>9</a:t>
            </a:fld>
            <a:endParaRPr lang="ru-RU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88BB42C-4E7E-45F1-AB31-00086D65A63E}"/>
              </a:ext>
            </a:extLst>
          </p:cNvPr>
          <p:cNvSpPr txBox="1"/>
          <p:nvPr/>
        </p:nvSpPr>
        <p:spPr>
          <a:xfrm>
            <a:off x="749369" y="443928"/>
            <a:ext cx="5622555" cy="391042"/>
          </a:xfrm>
          <a:prstGeom prst="rect">
            <a:avLst/>
          </a:prstGeom>
          <a:solidFill>
            <a:srgbClr val="FFEB00"/>
          </a:solidFill>
        </p:spPr>
        <p:txBody>
          <a:bodyPr wrap="square" rtlCol="0">
            <a:spAutoFit/>
          </a:bodyPr>
          <a:lstStyle/>
          <a:p>
            <a:endParaRPr lang="en-US" sz="2600" b="1" dirty="0">
              <a:latin typeface="FuturaDemiC" panose="04000700000000000000" pitchFamily="82" charset="-52"/>
            </a:endParaRPr>
          </a:p>
        </p:txBody>
      </p:sp>
      <p:sp>
        <p:nvSpPr>
          <p:cNvPr id="11" name="Title 4"/>
          <p:cNvSpPr>
            <a:spLocks noGrp="1"/>
          </p:cNvSpPr>
          <p:nvPr>
            <p:ph type="title"/>
          </p:nvPr>
        </p:nvSpPr>
        <p:spPr>
          <a:xfrm>
            <a:off x="749369" y="478121"/>
            <a:ext cx="8386164" cy="762188"/>
          </a:xfrm>
        </p:spPr>
        <p:txBody>
          <a:bodyPr>
            <a:normAutofit/>
          </a:bodyPr>
          <a:lstStyle/>
          <a:p>
            <a:r>
              <a:rPr lang="ru-RU" sz="2400" b="1" dirty="0">
                <a:latin typeface="Century Gothic" panose="020B0502020202020204" pitchFamily="34" charset="0"/>
              </a:rPr>
              <a:t>Зачем нужно тестирование?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1003376" y="2140019"/>
            <a:ext cx="910315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dirty="0">
                <a:latin typeface="Century Gothic" panose="020B0502020202020204" pitchFamily="34" charset="0"/>
              </a:rPr>
              <a:t>…конечный продукт работает так, как было заявлено в требованиях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1003376" y="3002301"/>
            <a:ext cx="812369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dirty="0">
                <a:latin typeface="Century Gothic" panose="020B0502020202020204" pitchFamily="34" charset="0"/>
              </a:rPr>
              <a:t>…продукт работает на разных операционных системах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1003376" y="3864583"/>
            <a:ext cx="793966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dirty="0">
                <a:latin typeface="Century Gothic" panose="020B0502020202020204" pitchFamily="34" charset="0"/>
              </a:rPr>
              <a:t>…все данные защищены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1003376" y="4726865"/>
            <a:ext cx="775678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dirty="0">
                <a:latin typeface="Century Gothic" panose="020B0502020202020204" pitchFamily="34" charset="0"/>
              </a:rPr>
              <a:t>…система будет работать при заявленной нагрузке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1003376" y="5589146"/>
            <a:ext cx="694709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dirty="0">
                <a:latin typeface="Century Gothic" panose="020B0502020202020204" pitchFamily="34" charset="0"/>
              </a:rPr>
              <a:t>…пользователю удобно работать с системой</a:t>
            </a:r>
          </a:p>
        </p:txBody>
      </p:sp>
      <p:sp>
        <p:nvSpPr>
          <p:cNvPr id="35" name="TextBox 34"/>
          <p:cNvSpPr txBox="1"/>
          <p:nvPr/>
        </p:nvSpPr>
        <p:spPr>
          <a:xfrm>
            <a:off x="1003376" y="1356433"/>
            <a:ext cx="536854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dirty="0">
                <a:latin typeface="Century Gothic" panose="020B0502020202020204" pitchFamily="34" charset="0"/>
              </a:rPr>
              <a:t>Тестирование гарантирует, что…</a:t>
            </a:r>
          </a:p>
        </p:txBody>
      </p:sp>
    </p:spTree>
    <p:extLst>
      <p:ext uri="{BB962C8B-B14F-4D97-AF65-F5344CB8AC3E}">
        <p14:creationId xmlns:p14="http://schemas.microsoft.com/office/powerpoint/2010/main" val="317510959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5" grpId="0"/>
      <p:bldP spid="27" grpId="0"/>
      <p:bldP spid="29" grpId="0"/>
      <p:bldP spid="30" grpId="0"/>
      <p:bldP spid="31" grpId="0"/>
      <p:bldP spid="35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344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2&quot;&gt;&lt;elem m_fUsage=&quot;1.00000000000000000000E+00&quot;&gt;&lt;m_msothmcolidx val=&quot;0&quot;/&gt;&lt;m_rgb r=&quot;ED&quot; g=&quot;EE&quot; b=&quot;EF&quot;/&gt;&lt;m_nBrightness endver=&quot;26206&quot; val=&quot;0&quot;/&gt;&lt;/elem&gt;&lt;elem m_fUsage=&quot;9.00000000000000022204E-01&quot;&gt;&lt;m_msothmcolidx val=&quot;0&quot;/&gt;&lt;m_rgb r=&quot;FF&quot; g=&quot;EB&quot; b=&quot;00&quot;/&gt;&lt;m_nBrightness endver=&quot;26206&quot;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cLv4m8.hsU6A7UAFA4pc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1gwPL44KUUMuRZk0eh1n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1gwPL44KUUMuRZk0eh1ng"/>
</p:tagLst>
</file>

<file path=ppt/theme/theme1.xml><?xml version="1.0" encoding="utf-8"?>
<a:theme xmlns:a="http://schemas.openxmlformats.org/drawingml/2006/main" name="Тема Office">
  <a:themeElements>
    <a:clrScheme name="Custom 9">
      <a:dk1>
        <a:srgbClr val="333333"/>
      </a:dk1>
      <a:lt1>
        <a:srgbClr val="FFFFFF"/>
      </a:lt1>
      <a:dk2>
        <a:srgbClr val="333333"/>
      </a:dk2>
      <a:lt2>
        <a:srgbClr val="FFFFFF"/>
      </a:lt2>
      <a:accent1>
        <a:srgbClr val="181C2B"/>
      </a:accent1>
      <a:accent2>
        <a:srgbClr val="FAEB00"/>
      </a:accent2>
      <a:accent3>
        <a:srgbClr val="818080"/>
      </a:accent3>
      <a:accent4>
        <a:srgbClr val="FA4137"/>
      </a:accent4>
      <a:accent5>
        <a:srgbClr val="5F7DFA"/>
      </a:accent5>
      <a:accent6>
        <a:srgbClr val="6EAF46"/>
      </a:accent6>
      <a:hlink>
        <a:srgbClr val="00AAFF"/>
      </a:hlink>
      <a:folHlink>
        <a:srgbClr val="99DDF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6631</TotalTime>
  <Words>313</Words>
  <Application>Microsoft Office PowerPoint</Application>
  <PresentationFormat>Widescreen</PresentationFormat>
  <Paragraphs>142</Paragraphs>
  <Slides>15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21" baseType="lpstr">
      <vt:lpstr>Arial</vt:lpstr>
      <vt:lpstr>Calibri</vt:lpstr>
      <vt:lpstr>Century Gothic</vt:lpstr>
      <vt:lpstr>FuturaDemiC</vt:lpstr>
      <vt:lpstr>Тема Office</vt:lpstr>
      <vt:lpstr>think-cell Slide</vt:lpstr>
      <vt:lpstr>Введение в разработку ПО</vt:lpstr>
      <vt:lpstr>Этапы разработки</vt:lpstr>
      <vt:lpstr>Получаем быструю обратную связь</vt:lpstr>
      <vt:lpstr>Фреймворк Scrum</vt:lpstr>
      <vt:lpstr>Этапы разработки</vt:lpstr>
      <vt:lpstr>Качество требований</vt:lpstr>
      <vt:lpstr>Продолжаем говорить об этапах разработки</vt:lpstr>
      <vt:lpstr>Введение в теорию тестирования</vt:lpstr>
      <vt:lpstr>Зачем нужно тестирование?</vt:lpstr>
      <vt:lpstr>Виды тестирования</vt:lpstr>
      <vt:lpstr>Виды тестирования</vt:lpstr>
      <vt:lpstr>Виды тестирования</vt:lpstr>
      <vt:lpstr>Инструменты тестирования</vt:lpstr>
      <vt:lpstr>Виды активностей тестировщика</vt:lpstr>
      <vt:lpstr>Ждем вас на следующих лекциях!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пользователь Microsoft Office</dc:creator>
  <cp:lastModifiedBy>SEMINA Tatyana</cp:lastModifiedBy>
  <cp:revision>1024</cp:revision>
  <cp:lastPrinted>2017-11-29T18:25:18Z</cp:lastPrinted>
  <dcterms:created xsi:type="dcterms:W3CDTF">2017-11-14T14:42:55Z</dcterms:created>
  <dcterms:modified xsi:type="dcterms:W3CDTF">2020-09-04T10:20:45Z</dcterms:modified>
</cp:coreProperties>
</file>